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934" r:id="rId1"/>
  </p:sldMasterIdLst>
  <p:notesMasterIdLst>
    <p:notesMasterId r:id="rId13"/>
  </p:notesMasterIdLst>
  <p:sldIdLst>
    <p:sldId id="256" r:id="rId2"/>
    <p:sldId id="269" r:id="rId3"/>
    <p:sldId id="279" r:id="rId4"/>
    <p:sldId id="280" r:id="rId5"/>
    <p:sldId id="281" r:id="rId6"/>
    <p:sldId id="289" r:id="rId7"/>
    <p:sldId id="285" r:id="rId8"/>
    <p:sldId id="287" r:id="rId9"/>
    <p:sldId id="288" r:id="rId10"/>
    <p:sldId id="283" r:id="rId11"/>
    <p:sldId id="29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5A11"/>
    <a:srgbClr val="FFF197"/>
    <a:srgbClr val="49166D"/>
    <a:srgbClr val="250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7" autoAdjust="0"/>
    <p:restoredTop sz="93979" autoAdjust="0"/>
  </p:normalViewPr>
  <p:slideViewPr>
    <p:cSldViewPr snapToGrid="0">
      <p:cViewPr varScale="1">
        <p:scale>
          <a:sx n="69" d="100"/>
          <a:sy n="69" d="100"/>
        </p:scale>
        <p:origin x="62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75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bg1"/>
              </a:solidFill>
            </a:rPr>
            <a:t>Identify Problem and         Application</a:t>
          </a:r>
          <a:endParaRPr lang="en-US" sz="1200" b="1" dirty="0">
            <a:solidFill>
              <a:schemeClr val="bg1"/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75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bg1"/>
              </a:solidFill>
            </a:rPr>
            <a:t>Data Exploration, Feature  Engineering</a:t>
          </a:r>
          <a:endParaRPr lang="en-US" sz="1200" b="1" dirty="0">
            <a:solidFill>
              <a:schemeClr val="bg1"/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75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bg1"/>
              </a:solidFill>
            </a:rPr>
            <a:t>Feature Scaling and     Reduction</a:t>
          </a:r>
          <a:endParaRPr lang="en-US" sz="1200" b="1" dirty="0">
            <a:solidFill>
              <a:schemeClr val="bg1"/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Regress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75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bg1"/>
              </a:solidFill>
            </a:rPr>
            <a:t>Classification Model</a:t>
          </a:r>
          <a:endParaRPr lang="en-US" sz="1200" b="1" dirty="0">
            <a:solidFill>
              <a:schemeClr val="bg1"/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5BBA0FC-6F5A-4101-82A8-F0A5D244CCFB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49D5A5D-289C-4E33-AEB6-46F313003900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324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01A1383E-315D-42E2-9C17-C4779E9EC4EB}" type="par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9B32D8F-4D06-4C93-AC84-8F6FD5D9E77D}" type="sibTrans" cxnId="{86CE24B4-C7C4-4297-9A47-24E835DC221C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A0537C23-8DBE-4A68-AA5B-2ADD173DD1B6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lIns="0" rIns="252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52862F7B-8EC1-4BAC-8A84-C77F20BD66F9}" type="par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29A11D10-8269-40D6-839B-592C0BB28F8A}" type="sibTrans" cxnId="{3D1CCBBC-4C28-433F-800E-B4A6AFE03361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C4E022F1-1A75-4730-90EC-34307B158E0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16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23386718-DC79-4037-9E1D-1A1B13CE49E9}" type="par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1ABB87CC-C642-48BC-AA40-567CFEED83A1}" type="sibTrans" cxnId="{E4E0B065-8DB4-4971-ACBA-EFE92139FDB9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1B56D8D-8556-4CD5-8A96-B47502D2E250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200" b="1" dirty="0" smtClean="0">
              <a:solidFill>
                <a:schemeClr val="bg1"/>
              </a:solidFill>
            </a:rPr>
            <a:t>Conclusion</a:t>
          </a:r>
          <a:endParaRPr lang="en-US" sz="1200" b="1" dirty="0">
            <a:solidFill>
              <a:schemeClr val="bg1"/>
            </a:solidFill>
          </a:endParaRPr>
        </a:p>
      </dgm:t>
    </dgm:pt>
    <dgm:pt modelId="{4530EAC4-83F7-40B0-988C-41F729EE7CF8}" type="par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32B5E67F-8C16-453A-B668-E77006D7BCF0}" type="sibTrans" cxnId="{CE9AF98C-3FA2-4B4E-ADCF-C0F6CAC10164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2015762-901E-4916-A57B-3E8F14F7133B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E6E5D0A4-51DE-442A-9B4C-E6DE46A344C6}" type="par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E3BE768-EBD1-44D2-9209-D9111D8EF88C}" type="sibTrans" cxnId="{74AE2110-F500-41D7-B5E1-B1144FA71C6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B668C898-56AB-4C56-BACC-4272BCD7D6E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 rIns="288000"/>
        <a:lstStyle/>
        <a:p>
          <a:r>
            <a:rPr lang="en-US" sz="1200" b="1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dirty="0">
            <a:solidFill>
              <a:schemeClr val="accent2">
                <a:lumMod val="75000"/>
              </a:schemeClr>
            </a:solidFill>
          </a:endParaRPr>
        </a:p>
      </dgm:t>
    </dgm:pt>
    <dgm:pt modelId="{3296C895-3846-4033-9048-0017E4D3016F}" type="par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E9C995C-0C4D-44BA-A9B5-2DED4B3C34B1}" type="sibTrans" cxnId="{EC1D8E1D-11A5-4206-AA64-BDD09AEB9140}">
      <dgm:prSet/>
      <dgm:spPr/>
      <dgm:t>
        <a:bodyPr/>
        <a:lstStyle/>
        <a:p>
          <a:endParaRPr lang="en-US" sz="2000" b="1">
            <a:solidFill>
              <a:schemeClr val="accent2">
                <a:lumMod val="75000"/>
              </a:schemeClr>
            </a:solidFill>
          </a:endParaRPr>
        </a:p>
      </dgm:t>
    </dgm:pt>
    <dgm:pt modelId="{EB334E02-9197-421E-9E26-6E21A6E3C58E}" type="pres">
      <dgm:prSet presAssocID="{E5BBA0FC-6F5A-4101-82A8-F0A5D244CCFB}" presName="Name0" presStyleCnt="0">
        <dgm:presLayoutVars>
          <dgm:dir/>
          <dgm:resizeHandles val="exact"/>
        </dgm:presLayoutVars>
      </dgm:prSet>
      <dgm:spPr/>
    </dgm:pt>
    <dgm:pt modelId="{97A163D2-DEA0-4FAB-B68D-897628B83083}" type="pres">
      <dgm:prSet presAssocID="{849D5A5D-289C-4E33-AEB6-46F313003900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B69959-40AD-46A4-8298-BF5EE062984B}" type="pres">
      <dgm:prSet presAssocID="{19B32D8F-4D06-4C93-AC84-8F6FD5D9E77D}" presName="parSpace" presStyleCnt="0"/>
      <dgm:spPr/>
    </dgm:pt>
    <dgm:pt modelId="{ADFD2557-8C63-4654-8532-5AE1EB725512}" type="pres">
      <dgm:prSet presAssocID="{A0537C23-8DBE-4A68-AA5B-2ADD173DD1B6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B645D5-D16C-4A2D-A3FB-D57FA0E694A8}" type="pres">
      <dgm:prSet presAssocID="{29A11D10-8269-40D6-839B-592C0BB28F8A}" presName="parSpace" presStyleCnt="0"/>
      <dgm:spPr/>
    </dgm:pt>
    <dgm:pt modelId="{27062987-4578-47AB-A8A5-87559C888790}" type="pres">
      <dgm:prSet presAssocID="{C4E022F1-1A75-4730-90EC-34307B158E0E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7251C-AD56-499B-A512-87C858790147}" type="pres">
      <dgm:prSet presAssocID="{1ABB87CC-C642-48BC-AA40-567CFEED83A1}" presName="parSpace" presStyleCnt="0"/>
      <dgm:spPr/>
    </dgm:pt>
    <dgm:pt modelId="{F2FADCD6-0372-4649-BB96-E73EFDB43A7B}" type="pres">
      <dgm:prSet presAssocID="{B2015762-901E-4916-A57B-3E8F14F7133B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2756C-8500-45ED-8FE2-160BBE1F2B5A}" type="pres">
      <dgm:prSet presAssocID="{BE3BE768-EBD1-44D2-9209-D9111D8EF88C}" presName="parSpace" presStyleCnt="0"/>
      <dgm:spPr/>
    </dgm:pt>
    <dgm:pt modelId="{CC5BD291-B3C2-4A0D-99F2-B3CE13D495A4}" type="pres">
      <dgm:prSet presAssocID="{B668C898-56AB-4C56-BACC-4272BCD7D6E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28DCC-B0DC-43D1-817A-C02E48769BBB}" type="pres">
      <dgm:prSet presAssocID="{EE9C995C-0C4D-44BA-A9B5-2DED4B3C34B1}" presName="parSpace" presStyleCnt="0"/>
      <dgm:spPr/>
    </dgm:pt>
    <dgm:pt modelId="{8E76960D-8D86-40E0-B886-164928971146}" type="pres">
      <dgm:prSet presAssocID="{31B56D8D-8556-4CD5-8A96-B47502D2E250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B426A7-1632-4CC7-968E-06AD38461DBD}" type="presOf" srcId="{31B56D8D-8556-4CD5-8A96-B47502D2E250}" destId="{8E76960D-8D86-40E0-B886-164928971146}" srcOrd="0" destOrd="0" presId="urn:microsoft.com/office/officeart/2005/8/layout/hChevron3"/>
    <dgm:cxn modelId="{261A5622-FB91-4628-A1D1-57D090EF2D8E}" type="presOf" srcId="{E5BBA0FC-6F5A-4101-82A8-F0A5D244CCFB}" destId="{EB334E02-9197-421E-9E26-6E21A6E3C58E}" srcOrd="0" destOrd="0" presId="urn:microsoft.com/office/officeart/2005/8/layout/hChevron3"/>
    <dgm:cxn modelId="{E1B506EC-3CA7-4B70-8E0E-33EC2DFAAFB8}" type="presOf" srcId="{849D5A5D-289C-4E33-AEB6-46F313003900}" destId="{97A163D2-DEA0-4FAB-B68D-897628B83083}" srcOrd="0" destOrd="0" presId="urn:microsoft.com/office/officeart/2005/8/layout/hChevron3"/>
    <dgm:cxn modelId="{3D1CCBBC-4C28-433F-800E-B4A6AFE03361}" srcId="{E5BBA0FC-6F5A-4101-82A8-F0A5D244CCFB}" destId="{A0537C23-8DBE-4A68-AA5B-2ADD173DD1B6}" srcOrd="1" destOrd="0" parTransId="{52862F7B-8EC1-4BAC-8A84-C77F20BD66F9}" sibTransId="{29A11D10-8269-40D6-839B-592C0BB28F8A}"/>
    <dgm:cxn modelId="{E006C59C-5BF5-4FBB-9CA2-BF5B828C1D20}" type="presOf" srcId="{B2015762-901E-4916-A57B-3E8F14F7133B}" destId="{F2FADCD6-0372-4649-BB96-E73EFDB43A7B}" srcOrd="0" destOrd="0" presId="urn:microsoft.com/office/officeart/2005/8/layout/hChevron3"/>
    <dgm:cxn modelId="{74AE2110-F500-41D7-B5E1-B1144FA71C60}" srcId="{E5BBA0FC-6F5A-4101-82A8-F0A5D244CCFB}" destId="{B2015762-901E-4916-A57B-3E8F14F7133B}" srcOrd="3" destOrd="0" parTransId="{E6E5D0A4-51DE-442A-9B4C-E6DE46A344C6}" sibTransId="{BE3BE768-EBD1-44D2-9209-D9111D8EF88C}"/>
    <dgm:cxn modelId="{E4E0B065-8DB4-4971-ACBA-EFE92139FDB9}" srcId="{E5BBA0FC-6F5A-4101-82A8-F0A5D244CCFB}" destId="{C4E022F1-1A75-4730-90EC-34307B158E0E}" srcOrd="2" destOrd="0" parTransId="{23386718-DC79-4037-9E1D-1A1B13CE49E9}" sibTransId="{1ABB87CC-C642-48BC-AA40-567CFEED83A1}"/>
    <dgm:cxn modelId="{CCBC15AF-640B-47BE-80B5-E5B2F7D88ADD}" type="presOf" srcId="{A0537C23-8DBE-4A68-AA5B-2ADD173DD1B6}" destId="{ADFD2557-8C63-4654-8532-5AE1EB725512}" srcOrd="0" destOrd="0" presId="urn:microsoft.com/office/officeart/2005/8/layout/hChevron3"/>
    <dgm:cxn modelId="{CE9AF98C-3FA2-4B4E-ADCF-C0F6CAC10164}" srcId="{E5BBA0FC-6F5A-4101-82A8-F0A5D244CCFB}" destId="{31B56D8D-8556-4CD5-8A96-B47502D2E250}" srcOrd="5" destOrd="0" parTransId="{4530EAC4-83F7-40B0-988C-41F729EE7CF8}" sibTransId="{32B5E67F-8C16-453A-B668-E77006D7BCF0}"/>
    <dgm:cxn modelId="{86CE24B4-C7C4-4297-9A47-24E835DC221C}" srcId="{E5BBA0FC-6F5A-4101-82A8-F0A5D244CCFB}" destId="{849D5A5D-289C-4E33-AEB6-46F313003900}" srcOrd="0" destOrd="0" parTransId="{01A1383E-315D-42E2-9C17-C4779E9EC4EB}" sibTransId="{19B32D8F-4D06-4C93-AC84-8F6FD5D9E77D}"/>
    <dgm:cxn modelId="{D378FE49-EAE8-4E62-867D-60E69EDAD440}" type="presOf" srcId="{C4E022F1-1A75-4730-90EC-34307B158E0E}" destId="{27062987-4578-47AB-A8A5-87559C888790}" srcOrd="0" destOrd="0" presId="urn:microsoft.com/office/officeart/2005/8/layout/hChevron3"/>
    <dgm:cxn modelId="{EC1D8E1D-11A5-4206-AA64-BDD09AEB9140}" srcId="{E5BBA0FC-6F5A-4101-82A8-F0A5D244CCFB}" destId="{B668C898-56AB-4C56-BACC-4272BCD7D6E9}" srcOrd="4" destOrd="0" parTransId="{3296C895-3846-4033-9048-0017E4D3016F}" sibTransId="{EE9C995C-0C4D-44BA-A9B5-2DED4B3C34B1}"/>
    <dgm:cxn modelId="{5D5A2B4D-2BD3-4C91-A250-5DE23E489034}" type="presOf" srcId="{B668C898-56AB-4C56-BACC-4272BCD7D6E9}" destId="{CC5BD291-B3C2-4A0D-99F2-B3CE13D495A4}" srcOrd="0" destOrd="0" presId="urn:microsoft.com/office/officeart/2005/8/layout/hChevron3"/>
    <dgm:cxn modelId="{16FFFD35-CD8E-4E92-A29C-6894777B60C4}" type="presParOf" srcId="{EB334E02-9197-421E-9E26-6E21A6E3C58E}" destId="{97A163D2-DEA0-4FAB-B68D-897628B83083}" srcOrd="0" destOrd="0" presId="urn:microsoft.com/office/officeart/2005/8/layout/hChevron3"/>
    <dgm:cxn modelId="{9E036B53-C2FD-464C-8C67-7FFD240E7374}" type="presParOf" srcId="{EB334E02-9197-421E-9E26-6E21A6E3C58E}" destId="{B9B69959-40AD-46A4-8298-BF5EE062984B}" srcOrd="1" destOrd="0" presId="urn:microsoft.com/office/officeart/2005/8/layout/hChevron3"/>
    <dgm:cxn modelId="{C723EC25-2C2A-45EB-B3A6-A440A1E10FF3}" type="presParOf" srcId="{EB334E02-9197-421E-9E26-6E21A6E3C58E}" destId="{ADFD2557-8C63-4654-8532-5AE1EB725512}" srcOrd="2" destOrd="0" presId="urn:microsoft.com/office/officeart/2005/8/layout/hChevron3"/>
    <dgm:cxn modelId="{C106F0CD-73E0-4ACD-9B49-7BEA53C1BE95}" type="presParOf" srcId="{EB334E02-9197-421E-9E26-6E21A6E3C58E}" destId="{2AB645D5-D16C-4A2D-A3FB-D57FA0E694A8}" srcOrd="3" destOrd="0" presId="urn:microsoft.com/office/officeart/2005/8/layout/hChevron3"/>
    <dgm:cxn modelId="{22ED5FE4-44E0-4FF1-B854-DA7CC45F6D31}" type="presParOf" srcId="{EB334E02-9197-421E-9E26-6E21A6E3C58E}" destId="{27062987-4578-47AB-A8A5-87559C888790}" srcOrd="4" destOrd="0" presId="urn:microsoft.com/office/officeart/2005/8/layout/hChevron3"/>
    <dgm:cxn modelId="{84CF4CC0-E61B-4D51-AAEE-874E6463DE1D}" type="presParOf" srcId="{EB334E02-9197-421E-9E26-6E21A6E3C58E}" destId="{8B87251C-AD56-499B-A512-87C858790147}" srcOrd="5" destOrd="0" presId="urn:microsoft.com/office/officeart/2005/8/layout/hChevron3"/>
    <dgm:cxn modelId="{FEDD9051-B891-4CE8-A984-30BA9F2AA10B}" type="presParOf" srcId="{EB334E02-9197-421E-9E26-6E21A6E3C58E}" destId="{F2FADCD6-0372-4649-BB96-E73EFDB43A7B}" srcOrd="6" destOrd="0" presId="urn:microsoft.com/office/officeart/2005/8/layout/hChevron3"/>
    <dgm:cxn modelId="{072C625A-F2C1-4F8D-9A20-BE69D65703B4}" type="presParOf" srcId="{EB334E02-9197-421E-9E26-6E21A6E3C58E}" destId="{B4E2756C-8500-45ED-8FE2-160BBE1F2B5A}" srcOrd="7" destOrd="0" presId="urn:microsoft.com/office/officeart/2005/8/layout/hChevron3"/>
    <dgm:cxn modelId="{1A5751E2-F5B9-4A91-BB84-2229497ABAEC}" type="presParOf" srcId="{EB334E02-9197-421E-9E26-6E21A6E3C58E}" destId="{CC5BD291-B3C2-4A0D-99F2-B3CE13D495A4}" srcOrd="8" destOrd="0" presId="urn:microsoft.com/office/officeart/2005/8/layout/hChevron3"/>
    <dgm:cxn modelId="{7A9D239C-1884-4358-81BA-59FEB33F1B4A}" type="presParOf" srcId="{EB334E02-9197-421E-9E26-6E21A6E3C58E}" destId="{ECB28DCC-B0DC-43D1-817A-C02E48769BBB}" srcOrd="9" destOrd="0" presId="urn:microsoft.com/office/officeart/2005/8/layout/hChevron3"/>
    <dgm:cxn modelId="{E3388427-852D-46DC-A6C4-11FAFD23B198}" type="presParOf" srcId="{EB334E02-9197-421E-9E26-6E21A6E3C58E}" destId="{8E76960D-8D86-40E0-B886-164928971146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Identify Problem and         Applicat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Data Exploration, Feature  Engineering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Feature Scaling and     Reduct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Regress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lassification Model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onclus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163D2-DEA0-4FAB-B68D-897628B83083}">
      <dsp:nvSpPr>
        <dsp:cNvPr id="0" name=""/>
        <dsp:cNvSpPr/>
      </dsp:nvSpPr>
      <dsp:spPr>
        <a:xfrm>
          <a:off x="1488" y="0"/>
          <a:ext cx="2437804" cy="372790"/>
        </a:xfrm>
        <a:prstGeom prst="homePlate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324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Identify Problem and         Applica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1488" y="0"/>
        <a:ext cx="2344607" cy="372790"/>
      </dsp:txXfrm>
    </dsp:sp>
    <dsp:sp modelId="{ADFD2557-8C63-4654-8532-5AE1EB725512}">
      <dsp:nvSpPr>
        <dsp:cNvPr id="0" name=""/>
        <dsp:cNvSpPr/>
      </dsp:nvSpPr>
      <dsp:spPr>
        <a:xfrm>
          <a:off x="1951732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004" rIns="252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Data Exploration, Feature  Engineering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2138127" y="0"/>
        <a:ext cx="2065014" cy="372790"/>
      </dsp:txXfrm>
    </dsp:sp>
    <dsp:sp modelId="{27062987-4578-47AB-A8A5-87559C888790}">
      <dsp:nvSpPr>
        <dsp:cNvPr id="0" name=""/>
        <dsp:cNvSpPr/>
      </dsp:nvSpPr>
      <dsp:spPr>
        <a:xfrm>
          <a:off x="3901975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16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Feature Scaling and     Reduction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4088370" y="0"/>
        <a:ext cx="2065014" cy="372790"/>
      </dsp:txXfrm>
    </dsp:sp>
    <dsp:sp modelId="{F2FADCD6-0372-4649-BB96-E73EFDB43A7B}">
      <dsp:nvSpPr>
        <dsp:cNvPr id="0" name=""/>
        <dsp:cNvSpPr/>
      </dsp:nvSpPr>
      <dsp:spPr>
        <a:xfrm>
          <a:off x="5852219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Regress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6038614" y="0"/>
        <a:ext cx="2065014" cy="372790"/>
      </dsp:txXfrm>
    </dsp:sp>
    <dsp:sp modelId="{CC5BD291-B3C2-4A0D-99F2-B3CE13D495A4}">
      <dsp:nvSpPr>
        <dsp:cNvPr id="0" name=""/>
        <dsp:cNvSpPr/>
      </dsp:nvSpPr>
      <dsp:spPr>
        <a:xfrm>
          <a:off x="7802463" y="0"/>
          <a:ext cx="2437804" cy="372790"/>
        </a:xfrm>
        <a:prstGeom prst="chevron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288000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accent2">
                  <a:lumMod val="75000"/>
                </a:schemeClr>
              </a:solidFill>
            </a:rPr>
            <a:t>Classification Model</a:t>
          </a:r>
          <a:endParaRPr lang="en-US" sz="1200" b="1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7988858" y="0"/>
        <a:ext cx="2065014" cy="372790"/>
      </dsp:txXfrm>
    </dsp:sp>
    <dsp:sp modelId="{8E76960D-8D86-40E0-B886-164928971146}">
      <dsp:nvSpPr>
        <dsp:cNvPr id="0" name=""/>
        <dsp:cNvSpPr/>
      </dsp:nvSpPr>
      <dsp:spPr>
        <a:xfrm>
          <a:off x="9752707" y="0"/>
          <a:ext cx="2437804" cy="372790"/>
        </a:xfrm>
        <a:prstGeom prst="chevron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bg1"/>
              </a:solidFill>
            </a:rPr>
            <a:t>Conclus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9939102" y="0"/>
        <a:ext cx="2065014" cy="3727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951DA-5A2B-413A-9CC6-9C1FF93E1863}" type="datetimeFigureOut">
              <a:rPr lang="en-CA" smtClean="0"/>
              <a:t>07/04/202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668F2-90C5-4B20-A290-F210F0FD3F4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2458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67869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Some of the top ranking features from K-best include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lead_time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children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previous_cancellations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previous_bookings_not_canceled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company‘</a:t>
            </a:r>
          </a:p>
          <a:p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ays_in_waiting_list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dt_arriva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esort_hote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city_hotel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Corporate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Online_TA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Compmtry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rkt_seg_Undefined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m_tp_F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rm_tp_H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arr_mth_feb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meal_SC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epo_tp_Ref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distbn_chnl_Dir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, '</a:t>
            </a:r>
            <a:r>
              <a:rPr lang="en-CA" sz="800" dirty="0" err="1" smtClean="0">
                <a:solidFill>
                  <a:srgbClr val="C55A11"/>
                </a:solidFill>
                <a:latin typeface="Lato"/>
              </a:rPr>
              <a:t>assn_rm_tp_I</a:t>
            </a:r>
            <a:r>
              <a:rPr lang="en-CA" sz="800" dirty="0" smtClean="0">
                <a:solidFill>
                  <a:srgbClr val="C55A11"/>
                </a:solidFill>
                <a:latin typeface="Lato"/>
              </a:rPr>
              <a:t>'</a:t>
            </a:r>
            <a:endParaRPr lang="en-CA" sz="800" dirty="0" smtClean="0">
              <a:solidFill>
                <a:srgbClr val="C55A1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28844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10820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"""Train an Multilayer Perceptron (MLP) with </a:t>
            </a:r>
            <a:r>
              <a:rPr lang="en-US" dirty="0" err="1" smtClean="0"/>
              <a:t>TensorFlow</a:t>
            </a:r>
            <a:r>
              <a:rPr lang="en-US" dirty="0" smtClean="0"/>
              <a:t> - </a:t>
            </a:r>
            <a:r>
              <a:rPr lang="en-US" dirty="0" err="1" smtClean="0"/>
              <a:t>Keras</a:t>
            </a:r>
            <a:r>
              <a:rPr lang="en-US" dirty="0" smtClean="0"/>
              <a:t> API"""</a:t>
            </a:r>
            <a:endParaRPr lang="en-CA" sz="1200" dirty="0" smtClean="0"/>
          </a:p>
          <a:p>
            <a:r>
              <a:rPr lang="fi-FI" sz="1200" dirty="0" smtClean="0"/>
              <a:t>	Loss function, Accuracy</a:t>
            </a:r>
          </a:p>
          <a:p>
            <a:r>
              <a:rPr lang="fi-FI" sz="1200" dirty="0" smtClean="0"/>
              <a:t>relu- [0.3609906734423616, 0.8394947]</a:t>
            </a:r>
            <a:br>
              <a:rPr lang="fi-FI" sz="1200" dirty="0" smtClean="0"/>
            </a:br>
            <a:r>
              <a:rPr lang="fi-FI" sz="1200" dirty="0" smtClean="0"/>
              <a:t>selu - [0.38405117149714463, 0.81708413]</a:t>
            </a:r>
            <a:br>
              <a:rPr lang="fi-FI" sz="1200" dirty="0" smtClean="0"/>
            </a:br>
            <a:r>
              <a:rPr lang="fi-FI" sz="1200" dirty="0" smtClean="0"/>
              <a:t>elu - [0.380795744237877, 0.8159357]</a:t>
            </a:r>
            <a:br>
              <a:rPr lang="fi-FI" sz="1200" dirty="0" smtClean="0"/>
            </a:br>
            <a:r>
              <a:rPr lang="fi-FI" sz="1200" dirty="0" smtClean="0"/>
              <a:t>tanh - [0.39610912362878786, 0.81432164]</a:t>
            </a:r>
            <a:br>
              <a:rPr lang="fi-FI" sz="1200" dirty="0" smtClean="0"/>
            </a:br>
            <a:r>
              <a:rPr lang="fi-FI" sz="1200" dirty="0" smtClean="0"/>
              <a:t>relu (optimized)- [0.3583572881965955, 0.82940686]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68F2-90C5-4B20-A290-F210F0FD3F43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5421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239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72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929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44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460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3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167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560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301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390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701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EFA27-4C0C-4355-BF1A-BEDB2BBEF86D}" type="datetimeFigureOut">
              <a:rPr lang="en-US" smtClean="0"/>
              <a:t>4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49F7A3-143E-4A93-BBE1-9109CF185B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76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i.ytimg.com/vi/Viyp58DMGng/maxresdefault.jp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gif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diagramQuickStyle" Target="../diagrams/quickStyl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microsoft.com/office/2007/relationships/diagramDrawing" Target="../diagrams/drawing1.xml"/><Relationship Id="rId10" Type="http://schemas.openxmlformats.org/officeDocument/2006/relationships/hyperlink" Target="https://www.kaggle.com/jessemostipak/hotel-booking-demand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6.jpeg"/><Relationship Id="rId14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8.png"/><Relationship Id="rId7" Type="http://schemas.openxmlformats.org/officeDocument/2006/relationships/diagramLayout" Target="../diagrams/layou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2.xml"/><Relationship Id="rId5" Type="http://schemas.openxmlformats.org/officeDocument/2006/relationships/image" Target="../media/image10.png"/><Relationship Id="rId10" Type="http://schemas.microsoft.com/office/2007/relationships/diagramDrawing" Target="../diagrams/drawing2.xml"/><Relationship Id="rId4" Type="http://schemas.openxmlformats.org/officeDocument/2006/relationships/image" Target="../media/image9.png"/><Relationship Id="rId9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1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microsoft.com/office/2007/relationships/diagramDrawing" Target="../diagrams/drawin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4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diagramColors" Target="../diagrams/colors4.xml"/><Relationship Id="rId5" Type="http://schemas.openxmlformats.org/officeDocument/2006/relationships/tags" Target="../tags/tag11.xml"/><Relationship Id="rId10" Type="http://schemas.openxmlformats.org/officeDocument/2006/relationships/diagramQuickStyle" Target="../diagrams/quickStyle4.xml"/><Relationship Id="rId4" Type="http://schemas.openxmlformats.org/officeDocument/2006/relationships/tags" Target="../tags/tag10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image" Target="../media/image15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12" Type="http://schemas.microsoft.com/office/2007/relationships/diagramDrawing" Target="../diagrams/drawing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diagramColors" Target="../diagrams/colors5.xml"/><Relationship Id="rId5" Type="http://schemas.openxmlformats.org/officeDocument/2006/relationships/tags" Target="../tags/tag17.xml"/><Relationship Id="rId10" Type="http://schemas.openxmlformats.org/officeDocument/2006/relationships/diagramQuickStyle" Target="../diagrams/quickStyle5.xml"/><Relationship Id="rId4" Type="http://schemas.openxmlformats.org/officeDocument/2006/relationships/tags" Target="../tags/tag16.xml"/><Relationship Id="rId9" Type="http://schemas.openxmlformats.org/officeDocument/2006/relationships/diagramLayout" Target="../diagrams/layout5.xml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19.emf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10" Type="http://schemas.openxmlformats.org/officeDocument/2006/relationships/image" Target="../media/image21.png"/><Relationship Id="rId4" Type="http://schemas.openxmlformats.org/officeDocument/2006/relationships/diagramData" Target="../diagrams/data7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uxury Hotel in Crete Greece, Amirandes Grecotel Hotels ...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427771" y="4378443"/>
            <a:ext cx="1137630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4000" dirty="0" smtClean="0">
                <a:solidFill>
                  <a:schemeClr val="accent2">
                    <a:lumMod val="75000"/>
                  </a:schemeClr>
                </a:solidFill>
              </a:rPr>
              <a:t>Predicting Pricing and Cancellation for Hotel Reservations</a:t>
            </a:r>
            <a:endParaRPr lang="en-CA" sz="4000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Course Name: SCS </a:t>
            </a:r>
            <a:r>
              <a:rPr lang="en-CA" sz="2000" dirty="0">
                <a:solidFill>
                  <a:schemeClr val="accent2">
                    <a:lumMod val="75000"/>
                  </a:schemeClr>
                </a:solidFill>
              </a:rPr>
              <a:t>3253-24 Machine 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Learning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Instructor: Matt MacDonald</a:t>
            </a:r>
          </a:p>
          <a:p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Apr 7</a:t>
            </a:r>
            <a:r>
              <a:rPr lang="en-CA" sz="1600" baseline="30000" dirty="0">
                <a:solidFill>
                  <a:schemeClr val="accent2">
                    <a:lumMod val="75000"/>
                  </a:schemeClr>
                </a:solidFill>
              </a:rPr>
              <a:t>th</a:t>
            </a:r>
            <a:r>
              <a:rPr lang="en-CA" sz="16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2020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994499" y="5276323"/>
            <a:ext cx="3003538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 smtClean="0">
                <a:solidFill>
                  <a:schemeClr val="accent2">
                    <a:lumMod val="75000"/>
                  </a:schemeClr>
                </a:solidFill>
              </a:rPr>
              <a:t>By: </a:t>
            </a:r>
          </a:p>
          <a:p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Farrukh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 Aziz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Harkaran Singh </a:t>
            </a:r>
          </a:p>
          <a:p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Sandeep </a:t>
            </a:r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Borkar</a:t>
            </a:r>
            <a:endParaRPr lang="en-CA" sz="2000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Vijaya</a:t>
            </a:r>
            <a:r>
              <a:rPr lang="en-CA" sz="20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CA" sz="2000" dirty="0" err="1" smtClean="0">
                <a:solidFill>
                  <a:schemeClr val="accent2">
                    <a:lumMod val="75000"/>
                  </a:schemeClr>
                </a:solidFill>
              </a:rPr>
              <a:t>Chennupati</a:t>
            </a:r>
            <a:endParaRPr lang="en-CA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93455" y="6689432"/>
            <a:ext cx="23552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Pic link: </a:t>
            </a:r>
            <a:r>
              <a:rPr lang="en-CA" sz="600" dirty="0" smtClean="0">
                <a:solidFill>
                  <a:schemeClr val="accent2">
                    <a:lumMod val="60000"/>
                    <a:lumOff val="40000"/>
                  </a:schemeClr>
                </a:solidFill>
                <a:hlinkClick r:id="rId4"/>
              </a:rPr>
              <a:t>https</a:t>
            </a:r>
            <a:r>
              <a:rPr lang="en-CA" sz="600" dirty="0">
                <a:solidFill>
                  <a:schemeClr val="accent2">
                    <a:lumMod val="60000"/>
                    <a:lumOff val="40000"/>
                  </a:schemeClr>
                </a:solidFill>
                <a:hlinkClick r:id="rId4"/>
              </a:rPr>
              <a:t>://i.ytimg.com/vi/Viyp58DMGng/maxresdefault.jpg</a:t>
            </a:r>
            <a:endParaRPr lang="en-CA" sz="6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4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200" kern="0" dirty="0">
                <a:solidFill>
                  <a:schemeClr val="accent2">
                    <a:lumMod val="75000"/>
                  </a:schemeClr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Pentagon 18"/>
          <p:cNvSpPr>
            <a:spLocks noChangeArrowheads="1"/>
          </p:cNvSpPr>
          <p:nvPr/>
        </p:nvSpPr>
        <p:spPr bwMode="auto">
          <a:xfrm>
            <a:off x="287482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Applications of the Model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287481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As a customer, predict the price of hotel and plan vacation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As a hotel owner, predict whether a reservation will be cancelled to enable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 smtClean="0">
                <a:solidFill>
                  <a:srgbClr val="C55A11"/>
                </a:solidFill>
              </a:rPr>
              <a:t>Better Logistics planning</a:t>
            </a:r>
          </a:p>
          <a:p>
            <a:pPr marL="625475" lvl="2" indent="-17145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CA" b="0" dirty="0" smtClean="0">
                <a:solidFill>
                  <a:srgbClr val="C55A11"/>
                </a:solidFill>
              </a:rPr>
              <a:t>Estimation of overbooking required</a:t>
            </a: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CA" sz="1400" b="0" dirty="0" smtClean="0">
                <a:solidFill>
                  <a:srgbClr val="C55A11"/>
                </a:solidFill>
              </a:rPr>
              <a:t>Potential to replicate in other </a:t>
            </a:r>
            <a:r>
              <a:rPr lang="en-CA" sz="1400" b="0" dirty="0">
                <a:solidFill>
                  <a:srgbClr val="C55A11"/>
                </a:solidFill>
              </a:rPr>
              <a:t>reservation </a:t>
            </a:r>
            <a:r>
              <a:rPr lang="en-CA" sz="1400" b="0" dirty="0" smtClean="0">
                <a:solidFill>
                  <a:srgbClr val="C55A11"/>
                </a:solidFill>
              </a:rPr>
              <a:t>related transactions</a:t>
            </a:r>
            <a:endParaRPr lang="en-CA" sz="1400" b="0" dirty="0">
              <a:solidFill>
                <a:srgbClr val="C55A11"/>
              </a:solidFill>
            </a:endParaRPr>
          </a:p>
        </p:txBody>
      </p:sp>
      <p:sp>
        <p:nvSpPr>
          <p:cNvPr id="27" name="Pentagon 26"/>
          <p:cNvSpPr>
            <a:spLocks noChangeArrowheads="1"/>
          </p:cNvSpPr>
          <p:nvPr/>
        </p:nvSpPr>
        <p:spPr bwMode="auto">
          <a:xfrm>
            <a:off x="5822587" y="1093509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ea typeface="ＭＳ Ｐゴシック" pitchFamily="34" charset="-128"/>
              </a:rPr>
              <a:t>Model Limitations</a:t>
            </a:r>
            <a:endParaRPr lang="en-US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822586" y="1480043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Built on data </a:t>
            </a:r>
            <a:r>
              <a:rPr lang="en-US" sz="1400" b="0" dirty="0">
                <a:solidFill>
                  <a:srgbClr val="C55A11"/>
                </a:solidFill>
              </a:rPr>
              <a:t>from two hotels </a:t>
            </a:r>
            <a:r>
              <a:rPr lang="en-US" sz="1400" b="0" dirty="0" smtClean="0">
                <a:solidFill>
                  <a:srgbClr val="C55A11"/>
                </a:solidFill>
              </a:rPr>
              <a:t>only, which can increase the chances of overfitting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Method of removing outliers chosen was 1.5 IQR from Q1 and Q3, which could lead to loss </a:t>
            </a:r>
            <a:r>
              <a:rPr lang="en-US" sz="1400" b="0" dirty="0">
                <a:solidFill>
                  <a:srgbClr val="C55A11"/>
                </a:solidFill>
              </a:rPr>
              <a:t>of </a:t>
            </a:r>
            <a:r>
              <a:rPr lang="en-US" sz="1400" b="0" dirty="0" smtClean="0">
                <a:solidFill>
                  <a:srgbClr val="C55A11"/>
                </a:solidFill>
              </a:rPr>
              <a:t>data</a:t>
            </a: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Potential loss of data due to removing </a:t>
            </a:r>
            <a:r>
              <a:rPr lang="en-US" sz="1400" b="0" dirty="0">
                <a:solidFill>
                  <a:srgbClr val="C55A11"/>
                </a:solidFill>
              </a:rPr>
              <a:t>‘Country’ data </a:t>
            </a:r>
            <a:r>
              <a:rPr lang="en-US" sz="1400" b="0" dirty="0" smtClean="0">
                <a:solidFill>
                  <a:srgbClr val="C55A11"/>
                </a:solidFill>
              </a:rPr>
              <a:t>: blank </a:t>
            </a:r>
            <a:r>
              <a:rPr lang="en-US" sz="1400" b="0" dirty="0">
                <a:solidFill>
                  <a:srgbClr val="C55A11"/>
                </a:solidFill>
              </a:rPr>
              <a:t>and </a:t>
            </a:r>
            <a:r>
              <a:rPr lang="en-US" sz="1400" b="0" dirty="0" smtClean="0">
                <a:solidFill>
                  <a:srgbClr val="C55A11"/>
                </a:solidFill>
              </a:rPr>
              <a:t>less </a:t>
            </a:r>
            <a:r>
              <a:rPr lang="en-US" sz="1400" b="0" dirty="0">
                <a:solidFill>
                  <a:srgbClr val="C55A11"/>
                </a:solidFill>
              </a:rPr>
              <a:t>than 100 data </a:t>
            </a:r>
            <a:r>
              <a:rPr lang="en-US" sz="1400" b="0" dirty="0" smtClean="0">
                <a:solidFill>
                  <a:srgbClr val="C55A11"/>
                </a:solidFill>
              </a:rPr>
              <a:t>points</a:t>
            </a:r>
            <a:endParaRPr lang="en-US" sz="1400" b="0" dirty="0">
              <a:solidFill>
                <a:srgbClr val="C55A11"/>
              </a:solidFill>
            </a:endParaRPr>
          </a:p>
        </p:txBody>
      </p:sp>
      <p:sp>
        <p:nvSpPr>
          <p:cNvPr id="29" name="Pentagon 28"/>
          <p:cNvSpPr>
            <a:spLocks noChangeArrowheads="1"/>
          </p:cNvSpPr>
          <p:nvPr/>
        </p:nvSpPr>
        <p:spPr bwMode="auto">
          <a:xfrm>
            <a:off x="287482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</a:rPr>
              <a:t>Challenges and Learnings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287481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Machine </a:t>
            </a:r>
            <a:r>
              <a:rPr lang="en-US" sz="1400" b="0" dirty="0">
                <a:solidFill>
                  <a:srgbClr val="C55A11"/>
                </a:solidFill>
              </a:rPr>
              <a:t>limitation </a:t>
            </a:r>
            <a:r>
              <a:rPr lang="en-US" sz="1400" b="0" dirty="0" smtClean="0">
                <a:solidFill>
                  <a:srgbClr val="C55A11"/>
                </a:solidFill>
              </a:rPr>
              <a:t>leading to</a:t>
            </a:r>
            <a:endParaRPr lang="en-US" sz="1400" b="0" dirty="0">
              <a:solidFill>
                <a:srgbClr val="C55A11"/>
              </a:solidFill>
            </a:endParaRP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Restriction in using range </a:t>
            </a:r>
            <a:r>
              <a:rPr lang="en-US" b="0" dirty="0">
                <a:solidFill>
                  <a:srgbClr val="C55A11"/>
                </a:solidFill>
              </a:rPr>
              <a:t>of </a:t>
            </a:r>
            <a:r>
              <a:rPr lang="en-US" b="0" dirty="0" smtClean="0">
                <a:solidFill>
                  <a:srgbClr val="C55A11"/>
                </a:solidFill>
              </a:rPr>
              <a:t>hypermeters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Unable </a:t>
            </a:r>
            <a:r>
              <a:rPr lang="en-US" b="0" dirty="0">
                <a:solidFill>
                  <a:srgbClr val="C55A11"/>
                </a:solidFill>
              </a:rPr>
              <a:t>to use </a:t>
            </a:r>
            <a:r>
              <a:rPr lang="en-US" b="0" dirty="0" smtClean="0">
                <a:solidFill>
                  <a:srgbClr val="C55A11"/>
                </a:solidFill>
              </a:rPr>
              <a:t>models like Gradient </a:t>
            </a:r>
            <a:r>
              <a:rPr lang="en-US" b="0" dirty="0">
                <a:solidFill>
                  <a:srgbClr val="C55A11"/>
                </a:solidFill>
              </a:rPr>
              <a:t>boost and </a:t>
            </a:r>
            <a:r>
              <a:rPr lang="en-US" b="0" dirty="0" err="1" smtClean="0">
                <a:solidFill>
                  <a:srgbClr val="C55A11"/>
                </a:solidFill>
              </a:rPr>
              <a:t>Adaboost</a:t>
            </a:r>
            <a:endParaRPr lang="en-US" b="0" dirty="0">
              <a:solidFill>
                <a:srgbClr val="C55A11"/>
              </a:solidFill>
            </a:endParaRPr>
          </a:p>
          <a:p>
            <a:pPr lvl="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Virtual working during COVID-19</a:t>
            </a:r>
          </a:p>
          <a:p>
            <a:pPr lvl="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 b="0" dirty="0" smtClean="0">
                <a:solidFill>
                  <a:srgbClr val="C55A11"/>
                </a:solidFill>
              </a:rPr>
              <a:t>Identified virtual work tools</a:t>
            </a:r>
            <a:endParaRPr lang="en-US" b="0" dirty="0">
              <a:solidFill>
                <a:srgbClr val="C55A11"/>
              </a:solidFill>
            </a:endParaRPr>
          </a:p>
        </p:txBody>
      </p:sp>
      <p:sp>
        <p:nvSpPr>
          <p:cNvPr id="31" name="Pentagon 30"/>
          <p:cNvSpPr>
            <a:spLocks noChangeArrowheads="1"/>
          </p:cNvSpPr>
          <p:nvPr/>
        </p:nvSpPr>
        <p:spPr bwMode="auto">
          <a:xfrm>
            <a:off x="5822587" y="3670658"/>
            <a:ext cx="3525888" cy="854847"/>
          </a:xfrm>
          <a:prstGeom prst="homePlate">
            <a:avLst>
              <a:gd name="adj" fmla="val 50035"/>
            </a:avLst>
          </a:prstGeom>
          <a:solidFill>
            <a:schemeClr val="accent2">
              <a:lumMod val="75000"/>
            </a:schemeClr>
          </a:solidFill>
          <a:ln w="12700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tIns="36000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ea typeface="ＭＳ Ｐゴシック" pitchFamily="34" charset="-128"/>
              </a:rPr>
              <a:t>Future Enhancements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822586" y="4057192"/>
            <a:ext cx="5076371" cy="20780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lIns="73152" tIns="73152" rIns="45720" bIns="73152"/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25000"/>
              </a:spcAft>
              <a:buClr>
                <a:schemeClr val="tx1"/>
              </a:buClr>
              <a:buFont typeface="Wingdings" pitchFamily="2" charset="2"/>
              <a:buChar char="§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682625" indent="-223838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bg2"/>
              </a:buClr>
              <a:buFont typeface="Arial" charset="0"/>
              <a:buChar char="□"/>
              <a:defRPr sz="1400" b="1">
                <a:solidFill>
                  <a:schemeClr val="bg2"/>
                </a:solidFill>
                <a:latin typeface="+mn-lt"/>
              </a:defRPr>
            </a:lvl3pPr>
            <a:lvl4pPr marL="1373188" indent="-2222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2450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796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368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1940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1250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Apply </a:t>
            </a:r>
            <a:r>
              <a:rPr lang="en-US" sz="1400" b="0" dirty="0">
                <a:solidFill>
                  <a:srgbClr val="C55A11"/>
                </a:solidFill>
              </a:rPr>
              <a:t>similar steps </a:t>
            </a:r>
            <a:r>
              <a:rPr lang="en-US" sz="1400" b="0" dirty="0" smtClean="0">
                <a:solidFill>
                  <a:srgbClr val="C55A11"/>
                </a:solidFill>
              </a:rPr>
              <a:t>for any reservation </a:t>
            </a:r>
            <a:r>
              <a:rPr lang="en-US" sz="1400" b="0" dirty="0">
                <a:solidFill>
                  <a:srgbClr val="C55A11"/>
                </a:solidFill>
              </a:rPr>
              <a:t>related </a:t>
            </a:r>
            <a:r>
              <a:rPr lang="en-US" sz="1400" b="0" dirty="0" smtClean="0">
                <a:solidFill>
                  <a:srgbClr val="C55A11"/>
                </a:solidFill>
              </a:rPr>
              <a:t>model, </a:t>
            </a:r>
            <a:r>
              <a:rPr lang="en-US" sz="1400" b="0" dirty="0">
                <a:solidFill>
                  <a:srgbClr val="C55A11"/>
                </a:solidFill>
              </a:rPr>
              <a:t>including flight reservation, appointment reservation </a:t>
            </a:r>
            <a:r>
              <a:rPr lang="en-US" sz="1400" b="0" dirty="0" smtClean="0">
                <a:solidFill>
                  <a:srgbClr val="C55A11"/>
                </a:solidFill>
              </a:rPr>
              <a:t>etc.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rgbClr val="C55A11"/>
                </a:solidFill>
              </a:rPr>
              <a:t>Can </a:t>
            </a:r>
            <a:r>
              <a:rPr lang="en-US" sz="1400" b="0" dirty="0">
                <a:solidFill>
                  <a:srgbClr val="C55A11"/>
                </a:solidFill>
              </a:rPr>
              <a:t>be generalized to any regression and classification problem </a:t>
            </a:r>
            <a:r>
              <a:rPr lang="en-US" sz="1400" b="0" dirty="0" smtClean="0">
                <a:solidFill>
                  <a:srgbClr val="C55A11"/>
                </a:solidFill>
              </a:rPr>
              <a:t>as our model covers both methods in depth</a:t>
            </a:r>
            <a:endParaRPr lang="en-US" sz="1400" b="0" dirty="0">
              <a:solidFill>
                <a:srgbClr val="C55A11"/>
              </a:solidFill>
            </a:endParaRPr>
          </a:p>
          <a:p>
            <a:pPr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C55A11"/>
                </a:solidFill>
              </a:rPr>
              <a:t>Scope for further research to identify underlying </a:t>
            </a:r>
            <a:r>
              <a:rPr lang="en-US" sz="1400" b="0" dirty="0" smtClean="0">
                <a:solidFill>
                  <a:srgbClr val="C55A11"/>
                </a:solidFill>
              </a:rPr>
              <a:t>clusters in the data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72355845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688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uxury Hotel in Crete Greece, Amirandes Grecotel Hotels ..."/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6295"/>
          <a:stretch/>
        </p:blipFill>
        <p:spPr>
          <a:xfrm>
            <a:off x="0" y="1"/>
            <a:ext cx="12192000" cy="43688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16935" y="4978806"/>
            <a:ext cx="113763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4000" dirty="0" smtClean="0">
                <a:solidFill>
                  <a:schemeClr val="accent2">
                    <a:lumMod val="75000"/>
                  </a:schemeClr>
                </a:solidFill>
              </a:rPr>
              <a:t>Thank You!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75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302;p47"/>
          <p:cNvPicPr preferRelativeResize="0"/>
          <p:nvPr/>
        </p:nvPicPr>
        <p:blipFill rotWithShape="1">
          <a:blip r:embed="rId2">
            <a:alphaModFix/>
          </a:blip>
          <a:srcRect b="14429"/>
          <a:stretch/>
        </p:blipFill>
        <p:spPr>
          <a:xfrm>
            <a:off x="1" y="1805531"/>
            <a:ext cx="12191999" cy="5052469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12;p47"/>
          <p:cNvSpPr/>
          <p:nvPr/>
        </p:nvSpPr>
        <p:spPr>
          <a:xfrm>
            <a:off x="91469" y="3581115"/>
            <a:ext cx="1653884" cy="5271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y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roblem and Applica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3;p47"/>
          <p:cNvSpPr/>
          <p:nvPr/>
        </p:nvSpPr>
        <p:spPr>
          <a:xfrm>
            <a:off x="2009735" y="3318252"/>
            <a:ext cx="2065219" cy="377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en-US" b="1" kern="0" dirty="0">
                <a:solidFill>
                  <a:schemeClr val="accent2">
                    <a:lumMod val="75000"/>
                  </a:schemeClr>
                </a:solidFill>
              </a:rPr>
              <a:t>Data </a:t>
            </a:r>
            <a:r>
              <a:rPr lang="en-US" b="1" kern="0" dirty="0" smtClean="0">
                <a:solidFill>
                  <a:schemeClr val="accent2">
                    <a:lumMod val="75000"/>
                  </a:schemeClr>
                </a:solidFill>
              </a:rPr>
              <a:t>Exploration &amp; Feature </a:t>
            </a:r>
            <a:r>
              <a:rPr lang="en-US" b="1" kern="0" dirty="0">
                <a:solidFill>
                  <a:schemeClr val="accent2">
                    <a:lumMod val="75000"/>
                  </a:schemeClr>
                </a:solidFill>
              </a:rPr>
              <a:t>Engineering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14;p47"/>
          <p:cNvSpPr/>
          <p:nvPr/>
        </p:nvSpPr>
        <p:spPr>
          <a:xfrm>
            <a:off x="4262668" y="3064573"/>
            <a:ext cx="1566885" cy="374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eature Scaling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nd Reduc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15;p47"/>
          <p:cNvSpPr/>
          <p:nvPr/>
        </p:nvSpPr>
        <p:spPr>
          <a:xfrm>
            <a:off x="6002496" y="2669876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gression Model: Select,</a:t>
            </a:r>
            <a:r>
              <a:rPr kumimoji="0" lang="en-CA" sz="1400" b="1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in &amp; Tune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" name="Google Shape;316;p47"/>
          <p:cNvGrpSpPr/>
          <p:nvPr/>
        </p:nvGrpSpPr>
        <p:grpSpPr>
          <a:xfrm>
            <a:off x="1425584" y="4095453"/>
            <a:ext cx="684000" cy="684000"/>
            <a:chOff x="2966930" y="2044873"/>
            <a:chExt cx="684000" cy="684000"/>
          </a:xfrm>
        </p:grpSpPr>
        <p:pic>
          <p:nvPicPr>
            <p:cNvPr id="4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" name="Google Shape;324;p47"/>
          <p:cNvSpPr/>
          <p:nvPr/>
        </p:nvSpPr>
        <p:spPr>
          <a:xfrm>
            <a:off x="7720031" y="1758352"/>
            <a:ext cx="1902827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CA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nclus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407944" y="4623929"/>
            <a:ext cx="5633731" cy="212785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0" bIns="0" rtlCol="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ctr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CA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50" name="Google Shape;316;p47"/>
          <p:cNvGrpSpPr/>
          <p:nvPr/>
        </p:nvGrpSpPr>
        <p:grpSpPr>
          <a:xfrm>
            <a:off x="3281975" y="3726676"/>
            <a:ext cx="684000" cy="684000"/>
            <a:chOff x="2966930" y="2044873"/>
            <a:chExt cx="684000" cy="684000"/>
          </a:xfrm>
        </p:grpSpPr>
        <p:pic>
          <p:nvPicPr>
            <p:cNvPr id="51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3" name="Google Shape;316;p47"/>
          <p:cNvGrpSpPr/>
          <p:nvPr/>
        </p:nvGrpSpPr>
        <p:grpSpPr>
          <a:xfrm>
            <a:off x="5102559" y="3445839"/>
            <a:ext cx="684000" cy="684000"/>
            <a:chOff x="2966930" y="2044873"/>
            <a:chExt cx="684000" cy="684000"/>
          </a:xfrm>
        </p:grpSpPr>
        <p:pic>
          <p:nvPicPr>
            <p:cNvPr id="5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6" name="Google Shape;316;p47"/>
          <p:cNvGrpSpPr/>
          <p:nvPr/>
        </p:nvGrpSpPr>
        <p:grpSpPr>
          <a:xfrm>
            <a:off x="6812309" y="3187567"/>
            <a:ext cx="684000" cy="684000"/>
            <a:chOff x="2966930" y="2044873"/>
            <a:chExt cx="684000" cy="684000"/>
          </a:xfrm>
        </p:grpSpPr>
        <p:pic>
          <p:nvPicPr>
            <p:cNvPr id="57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8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9" name="Google Shape;316;p47"/>
          <p:cNvGrpSpPr/>
          <p:nvPr/>
        </p:nvGrpSpPr>
        <p:grpSpPr>
          <a:xfrm>
            <a:off x="9127816" y="1774465"/>
            <a:ext cx="684000" cy="684000"/>
            <a:chOff x="2966930" y="2044873"/>
            <a:chExt cx="684000" cy="684000"/>
          </a:xfrm>
        </p:grpSpPr>
        <p:pic>
          <p:nvPicPr>
            <p:cNvPr id="60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1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109" y="1641491"/>
            <a:ext cx="729240" cy="47796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10267036" y="720436"/>
            <a:ext cx="1847031" cy="92757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400" b="1" dirty="0" smtClean="0"/>
              <a:t>Two Prediction Models for Pricing </a:t>
            </a:r>
            <a:r>
              <a:rPr lang="en-US" sz="1400" b="1" dirty="0"/>
              <a:t>and Cancellation </a:t>
            </a:r>
            <a:r>
              <a:rPr lang="en-US" sz="1400" b="1" dirty="0" smtClean="0"/>
              <a:t>of </a:t>
            </a:r>
            <a:r>
              <a:rPr lang="en-US" sz="1400" b="1" dirty="0"/>
              <a:t>Hotel Reservation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267977" y="1648007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2068319" y="1623262"/>
            <a:ext cx="45719" cy="302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Project Journey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707575" y="980931"/>
            <a:ext cx="7704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Google Shape;315;p47"/>
          <p:cNvSpPr/>
          <p:nvPr/>
        </p:nvSpPr>
        <p:spPr>
          <a:xfrm>
            <a:off x="7450614" y="2737771"/>
            <a:ext cx="1395479" cy="39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>
              <a:lnSpc>
                <a:spcPct val="114000"/>
              </a:lnSpc>
              <a:buSzPts val="1400"/>
              <a:defRPr/>
            </a:pPr>
            <a:r>
              <a:rPr lang="fr-FR" b="1" kern="0" dirty="0" smtClean="0">
                <a:solidFill>
                  <a:schemeClr val="accent2">
                    <a:lumMod val="75000"/>
                  </a:schemeClr>
                </a:solidFill>
              </a:rPr>
              <a:t>Classification Model: </a:t>
            </a:r>
            <a:r>
              <a:rPr lang="fr-FR" b="1" kern="0" dirty="0">
                <a:solidFill>
                  <a:schemeClr val="accent2">
                    <a:lumMod val="75000"/>
                  </a:schemeClr>
                </a:solidFill>
              </a:rPr>
              <a:t>Select, Train &amp; Tune</a:t>
            </a:r>
          </a:p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3" name="Google Shape;316;p47"/>
          <p:cNvGrpSpPr/>
          <p:nvPr/>
        </p:nvGrpSpPr>
        <p:grpSpPr>
          <a:xfrm>
            <a:off x="8688840" y="2909998"/>
            <a:ext cx="684000" cy="684000"/>
            <a:chOff x="2966930" y="2044873"/>
            <a:chExt cx="684000" cy="684000"/>
          </a:xfrm>
        </p:grpSpPr>
        <p:pic>
          <p:nvPicPr>
            <p:cNvPr id="44" name="Google Shape;317;p47"/>
            <p:cNvPicPr preferRelativeResize="0"/>
            <p:nvPr/>
          </p:nvPicPr>
          <p:blipFill rotWithShape="1">
            <a:blip r:embed="rId3">
              <a:alphaModFix/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rcRect/>
            <a:stretch/>
          </p:blipFill>
          <p:spPr>
            <a:xfrm rot="10800000">
              <a:off x="2966930" y="2044873"/>
              <a:ext cx="684000" cy="68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" name="Google Shape;318;p47"/>
            <p:cNvSpPr/>
            <p:nvPr/>
          </p:nvSpPr>
          <p:spPr>
            <a:xfrm>
              <a:off x="3154644" y="2106036"/>
              <a:ext cx="308570" cy="32043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481832" y="4948433"/>
            <a:ext cx="224131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Regression Models: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. </a:t>
            </a:r>
            <a:r>
              <a:rPr lang="en-US" sz="1200" kern="0" dirty="0">
                <a:solidFill>
                  <a:srgbClr val="FFFFFF"/>
                </a:solidFill>
              </a:rPr>
              <a:t>Linear </a:t>
            </a:r>
            <a:r>
              <a:rPr lang="en-US" sz="1200" kern="0" dirty="0" smtClean="0">
                <a:solidFill>
                  <a:srgbClr val="FFFFFF"/>
                </a:solidFill>
              </a:rPr>
              <a:t>Regression</a:t>
            </a:r>
            <a:endParaRPr lang="en-US" sz="1200" kern="0" dirty="0">
              <a:solidFill>
                <a:srgbClr val="FFFFFF"/>
              </a:solidFill>
            </a:endParaRPr>
          </a:p>
          <a:p>
            <a:pPr lvl="0" fontAlgn="ctr">
              <a:defRPr/>
            </a:pPr>
            <a:r>
              <a:rPr lang="en-US" sz="1200" kern="0" dirty="0">
                <a:solidFill>
                  <a:srgbClr val="FFFFFF"/>
                </a:solidFill>
              </a:rPr>
              <a:t>2</a:t>
            </a:r>
            <a:r>
              <a:rPr lang="en-US" sz="1200" kern="0" dirty="0" smtClean="0">
                <a:solidFill>
                  <a:srgbClr val="FFFFFF"/>
                </a:solidFill>
              </a:rPr>
              <a:t>. Lasso Regression</a:t>
            </a:r>
          </a:p>
          <a:p>
            <a:pPr fontAlgn="ctr">
              <a:defRPr/>
            </a:pPr>
            <a:r>
              <a:rPr lang="en-CA" sz="1200" kern="0" dirty="0">
                <a:solidFill>
                  <a:srgbClr val="FFFFFF"/>
                </a:solidFill>
              </a:rPr>
              <a:t>3</a:t>
            </a:r>
            <a:r>
              <a:rPr lang="en-CA" sz="1200" kern="0" dirty="0" smtClean="0">
                <a:solidFill>
                  <a:srgbClr val="FFFFFF"/>
                </a:solidFill>
              </a:rPr>
              <a:t>. </a:t>
            </a:r>
            <a:r>
              <a:rPr lang="en-CA" sz="1200" kern="0" dirty="0">
                <a:solidFill>
                  <a:srgbClr val="FFFFFF"/>
                </a:solidFill>
              </a:rPr>
              <a:t>SGD </a:t>
            </a:r>
            <a:r>
              <a:rPr lang="en-CA" sz="1200" kern="0" dirty="0" smtClean="0">
                <a:solidFill>
                  <a:srgbClr val="FFFFFF"/>
                </a:solidFill>
              </a:rPr>
              <a:t>Regression</a:t>
            </a:r>
          </a:p>
          <a:p>
            <a:r>
              <a:rPr lang="en-CA" sz="1200" kern="0" dirty="0" smtClean="0">
                <a:solidFill>
                  <a:schemeClr val="bg1"/>
                </a:solidFill>
              </a:rPr>
              <a:t>4. </a:t>
            </a:r>
            <a:r>
              <a:rPr lang="en-CA" sz="1200" kern="0" dirty="0">
                <a:solidFill>
                  <a:schemeClr val="bg1"/>
                </a:solidFill>
              </a:rPr>
              <a:t>Random Forest Regression</a:t>
            </a:r>
          </a:p>
          <a:p>
            <a:r>
              <a:rPr lang="en-CA" sz="1200" kern="0" dirty="0" smtClean="0">
                <a:solidFill>
                  <a:schemeClr val="bg1"/>
                </a:solidFill>
              </a:rPr>
              <a:t>5. </a:t>
            </a:r>
            <a:r>
              <a:rPr lang="en-CA" sz="1200" kern="0" dirty="0">
                <a:solidFill>
                  <a:schemeClr val="bg1"/>
                </a:solidFill>
              </a:rPr>
              <a:t>Elastic Net</a:t>
            </a:r>
          </a:p>
          <a:p>
            <a:r>
              <a:rPr lang="en-CA" sz="1200" kern="0" dirty="0" smtClean="0">
                <a:solidFill>
                  <a:schemeClr val="bg1"/>
                </a:solidFill>
              </a:rPr>
              <a:t>6. </a:t>
            </a:r>
            <a:r>
              <a:rPr lang="en-CA" sz="1200" kern="0" dirty="0">
                <a:solidFill>
                  <a:schemeClr val="bg1"/>
                </a:solidFill>
              </a:rPr>
              <a:t>Ada Boost Regression</a:t>
            </a:r>
          </a:p>
          <a:p>
            <a:r>
              <a:rPr lang="en-CA" sz="1200" kern="0" dirty="0">
                <a:solidFill>
                  <a:schemeClr val="bg1"/>
                </a:solidFill>
              </a:rPr>
              <a:t>7</a:t>
            </a:r>
            <a:r>
              <a:rPr lang="en-CA" sz="1200" kern="0" dirty="0" smtClean="0">
                <a:solidFill>
                  <a:schemeClr val="bg1"/>
                </a:solidFill>
              </a:rPr>
              <a:t>. </a:t>
            </a:r>
            <a:r>
              <a:rPr lang="en-CA" sz="1200" kern="0" dirty="0">
                <a:solidFill>
                  <a:schemeClr val="bg1"/>
                </a:solidFill>
              </a:rPr>
              <a:t>Support Vector Regression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728895" y="4953955"/>
            <a:ext cx="21921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kern="0" dirty="0" smtClean="0">
                <a:solidFill>
                  <a:schemeClr val="bg1"/>
                </a:solidFill>
              </a:rPr>
              <a:t>Classification Models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8.  K-Neighbors Classifier</a:t>
            </a:r>
          </a:p>
          <a:p>
            <a:r>
              <a:rPr lang="en-CA" sz="1200" dirty="0">
                <a:solidFill>
                  <a:schemeClr val="bg1"/>
                </a:solidFill>
              </a:rPr>
              <a:t>9</a:t>
            </a:r>
            <a:r>
              <a:rPr lang="en-CA" sz="1200" dirty="0" smtClean="0">
                <a:solidFill>
                  <a:schemeClr val="bg1"/>
                </a:solidFill>
              </a:rPr>
              <a:t>. Logistic Regression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10. Random Forest Classifier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11. Support Vector Classifier</a:t>
            </a:r>
          </a:p>
          <a:p>
            <a:r>
              <a:rPr lang="en-CA" sz="1200" dirty="0" smtClean="0">
                <a:solidFill>
                  <a:schemeClr val="bg1"/>
                </a:solidFill>
              </a:rPr>
              <a:t>12. Decision Tree Classifier</a:t>
            </a:r>
            <a:endParaRPr lang="en-CA" sz="1200" dirty="0">
              <a:solidFill>
                <a:schemeClr val="bg1"/>
              </a:solidFill>
            </a:endParaRPr>
          </a:p>
          <a:p>
            <a:r>
              <a:rPr lang="en-CA" sz="1200" dirty="0" smtClean="0">
                <a:solidFill>
                  <a:schemeClr val="bg1"/>
                </a:solidFill>
              </a:rPr>
              <a:t>13. Voting Classifier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895846" y="4953955"/>
            <a:ext cx="11458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Other Tools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5. </a:t>
            </a:r>
            <a:r>
              <a:rPr lang="en-US" sz="1200" kern="0" dirty="0">
                <a:solidFill>
                  <a:srgbClr val="FFFFFF"/>
                </a:solidFill>
              </a:rPr>
              <a:t>RFECV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6. </a:t>
            </a:r>
            <a:r>
              <a:rPr lang="en-US" sz="1200" kern="0" dirty="0">
                <a:solidFill>
                  <a:srgbClr val="FFFFFF"/>
                </a:solidFill>
              </a:rPr>
              <a:t>K-best </a:t>
            </a: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7. </a:t>
            </a:r>
            <a:r>
              <a:rPr lang="en-US" sz="1200" kern="0" dirty="0">
                <a:solidFill>
                  <a:srgbClr val="FFFFFF"/>
                </a:solidFill>
              </a:rPr>
              <a:t>PCA </a:t>
            </a:r>
            <a:endParaRPr lang="en-US" sz="1200" kern="0" dirty="0" smtClean="0">
              <a:solidFill>
                <a:srgbClr val="FFFFFF"/>
              </a:solidFill>
            </a:endParaRPr>
          </a:p>
          <a:p>
            <a:pPr lvl="0" fontAlgn="ctr">
              <a:defRPr/>
            </a:pPr>
            <a:r>
              <a:rPr lang="en-US" sz="1200" kern="0" dirty="0" smtClean="0">
                <a:solidFill>
                  <a:srgbClr val="FFFFFF"/>
                </a:solidFill>
              </a:rPr>
              <a:t>18. Grid Search CV</a:t>
            </a:r>
            <a:endParaRPr lang="en-US" sz="1200" kern="0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01323" y="6453128"/>
            <a:ext cx="16177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 smtClean="0">
                <a:solidFill>
                  <a:schemeClr val="bg1"/>
                </a:solidFill>
              </a:rPr>
              <a:t>14. Neural </a:t>
            </a:r>
            <a:r>
              <a:rPr lang="en-US" sz="1200" kern="0" dirty="0">
                <a:solidFill>
                  <a:schemeClr val="bg1"/>
                </a:solidFill>
              </a:rPr>
              <a:t>Networks</a:t>
            </a:r>
            <a:endParaRPr lang="en-US" sz="1200" kern="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09739" y="4595114"/>
            <a:ext cx="3651962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lnSpc>
                <a:spcPct val="120000"/>
              </a:lnSpc>
              <a:buClr>
                <a:srgbClr val="000000"/>
              </a:buClr>
              <a:defRPr/>
            </a:pPr>
            <a:r>
              <a:rPr lang="en-CA" sz="1400" b="1" kern="0" dirty="0">
                <a:solidFill>
                  <a:srgbClr val="FFFFFF"/>
                </a:solidFill>
                <a:sym typeface="Arial"/>
              </a:rPr>
              <a:t>Models and Data Exploration Tools Used</a:t>
            </a:r>
          </a:p>
        </p:txBody>
      </p:sp>
    </p:spTree>
    <p:extLst>
      <p:ext uri="{BB962C8B-B14F-4D97-AF65-F5344CB8AC3E}">
        <p14:creationId xmlns:p14="http://schemas.microsoft.com/office/powerpoint/2010/main" val="16419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14" y="1623550"/>
            <a:ext cx="1063997" cy="950446"/>
          </a:xfrm>
          <a:prstGeom prst="rect">
            <a:avLst/>
          </a:prstGeom>
        </p:spPr>
      </p:pic>
      <p:pic>
        <p:nvPicPr>
          <p:cNvPr id="4" name="Picture 12" descr="https://brand.telus.com/sites/default/files/Utilities_RGB_PU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6" y="1652152"/>
            <a:ext cx="990188" cy="921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Identify Problem and its Application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17364" y="1260149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10771" y="1088882"/>
            <a:ext cx="5951847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I</a:t>
            </a:r>
            <a:r>
              <a:rPr kumimoji="0" lang="en-CA" sz="2000" b="0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mportant factors while making a hotel reservation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791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or Customers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01755" y="2518540"/>
            <a:ext cx="1223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or Business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82461" y="1628367"/>
            <a:ext cx="2243023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 smtClean="0">
                <a:solidFill>
                  <a:schemeClr val="accent2">
                    <a:lumMod val="75000"/>
                  </a:schemeClr>
                </a:solidFill>
              </a:rPr>
              <a:t>Pric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Loc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Reservation D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976679" y="1623550"/>
            <a:ext cx="2414226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2000" b="1" dirty="0" smtClean="0">
                <a:solidFill>
                  <a:schemeClr val="accent2">
                    <a:lumMod val="75000"/>
                  </a:schemeClr>
                </a:solidFill>
              </a:rPr>
              <a:t>Cancellation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Lead Time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CA" sz="1600" dirty="0" smtClean="0">
                <a:solidFill>
                  <a:schemeClr val="accent2">
                    <a:lumMod val="75000"/>
                  </a:schemeClr>
                </a:solidFill>
              </a:rPr>
              <a:t>Repeat customer</a:t>
            </a:r>
            <a:endParaRPr lang="en-C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18964" y="2889160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bg1"/>
                </a:solidFill>
              </a:rPr>
              <a:t>‘Price’ and ‘Cancellation’ are the key factors for any reservation, not just hotel </a:t>
            </a:r>
            <a:r>
              <a:rPr lang="en-CA" dirty="0">
                <a:solidFill>
                  <a:schemeClr val="bg1"/>
                </a:solidFill>
              </a:rPr>
              <a:t>reservation</a:t>
            </a: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1527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5555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80358" y="4260389"/>
            <a:ext cx="2988128" cy="16007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111527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4645555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8180358" y="3916910"/>
            <a:ext cx="2988128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77656" y="3952611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Identified the data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525484" y="3933204"/>
            <a:ext cx="3233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Identified the target variables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303484" y="3933204"/>
            <a:ext cx="27154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Application in industry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15274" y="4337841"/>
            <a:ext cx="29836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ata Source –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Kaggle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ink to Data Source</a:t>
            </a:r>
          </a:p>
          <a:p>
            <a:pPr>
              <a:lnSpc>
                <a:spcPct val="150000"/>
              </a:lnSpc>
            </a:pPr>
            <a:r>
              <a:rPr lang="en-CA" sz="1200" u="sng" dirty="0" smtClean="0">
                <a:solidFill>
                  <a:schemeClr val="accent2">
                    <a:lumMod val="75000"/>
                  </a:schemeClr>
                </a:solidFill>
                <a:hlinkClick r:id="rId10"/>
              </a:rPr>
              <a:t>https</a:t>
            </a:r>
            <a:r>
              <a:rPr lang="en-CA" sz="1200" u="sng" dirty="0">
                <a:solidFill>
                  <a:schemeClr val="accent2">
                    <a:lumMod val="75000"/>
                  </a:schemeClr>
                </a:solidFill>
                <a:hlinkClick r:id="rId10"/>
              </a:rPr>
              <a:t>://www.kaggle.com/jessemostipak/hotel-booking-demand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645555" y="4337841"/>
            <a:ext cx="29881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ADR (Average Daily Rat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Nume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dict the price of hotel</a:t>
            </a:r>
          </a:p>
          <a:p>
            <a:pPr lvl="1"/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Is Cancelled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ategorical vari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dict whether a reservation will be cancelled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195910" y="4337841"/>
            <a:ext cx="29725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‘Pricing’ and ‘cancellation’ are key parameters for any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reservation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pportunity to replicate in other industries involving reserv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otential to standardize prediction models for Tourism industry</a:t>
            </a: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Google Shape;161;p3"/>
          <p:cNvSpPr/>
          <p:nvPr/>
        </p:nvSpPr>
        <p:spPr>
          <a:xfrm>
            <a:off x="417364" y="3610636"/>
            <a:ext cx="11257396" cy="2830899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9" name="Google Shape;163;p3"/>
          <p:cNvSpPr txBox="1"/>
          <p:nvPr/>
        </p:nvSpPr>
        <p:spPr>
          <a:xfrm>
            <a:off x="910771" y="3439370"/>
            <a:ext cx="53884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Problem Identification and its Applicability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4105195" y="527019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4" name="Rectangle 43"/>
          <p:cNvSpPr/>
          <p:nvPr/>
        </p:nvSpPr>
        <p:spPr>
          <a:xfrm>
            <a:off x="518964" y="6061682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bg1"/>
                </a:solidFill>
              </a:rPr>
              <a:t>Two Target Variables to Predict: (1) Average Daily Rate (2) Will it be a Cancellation</a:t>
            </a:r>
            <a:endParaRPr lang="en-CA" dirty="0">
              <a:solidFill>
                <a:schemeClr val="bg1"/>
              </a:solidFill>
            </a:endParaRPr>
          </a:p>
        </p:txBody>
      </p:sp>
      <p:sp>
        <p:nvSpPr>
          <p:cNvPr id="43" name="Right Arrow 42"/>
          <p:cNvSpPr/>
          <p:nvPr/>
        </p:nvSpPr>
        <p:spPr>
          <a:xfrm>
            <a:off x="7636746" y="5265003"/>
            <a:ext cx="54215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1" name="Diagram 40"/>
          <p:cNvGraphicFramePr/>
          <p:nvPr>
            <p:extLst>
              <p:ext uri="{D42A27DB-BD31-4B8C-83A1-F6EECF244321}">
                <p14:modId xmlns:p14="http://schemas.microsoft.com/office/powerpoint/2010/main" val="14654228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202306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CA" sz="3200" dirty="0" smtClean="0">
                <a:solidFill>
                  <a:schemeClr val="accent2">
                    <a:lumMod val="75000"/>
                  </a:schemeClr>
                </a:solidFill>
              </a:rPr>
              <a:t>Data Exploration and Feature Engineering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11090" r="10645"/>
          <a:stretch/>
        </p:blipFill>
        <p:spPr>
          <a:xfrm>
            <a:off x="9058732" y="157310"/>
            <a:ext cx="3066871" cy="2427931"/>
          </a:xfrm>
          <a:prstGeom prst="rect">
            <a:avLst/>
          </a:prstGeom>
        </p:spPr>
      </p:pic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085578"/>
              </p:ext>
            </p:extLst>
          </p:nvPr>
        </p:nvGraphicFramePr>
        <p:xfrm>
          <a:off x="690107" y="1177757"/>
          <a:ext cx="8128000" cy="112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077114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238928121"/>
                    </a:ext>
                  </a:extLst>
                </a:gridCol>
                <a:gridCol w="1883225">
                  <a:extLst>
                    <a:ext uri="{9D8B030D-6E8A-4147-A177-3AD203B41FA5}">
                      <a16:colId xmlns:a16="http://schemas.microsoft.com/office/drawing/2014/main" val="1847213319"/>
                    </a:ext>
                  </a:extLst>
                </a:gridCol>
                <a:gridCol w="2180775">
                  <a:extLst>
                    <a:ext uri="{9D8B030D-6E8A-4147-A177-3AD203B41FA5}">
                      <a16:colId xmlns:a16="http://schemas.microsoft.com/office/drawing/2014/main" val="593210437"/>
                    </a:ext>
                  </a:extLst>
                </a:gridCol>
              </a:tblGrid>
              <a:tr h="1115649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 smtClean="0"/>
                        <a:t>I</a:t>
                      </a:r>
                      <a:r>
                        <a:rPr lang="en-CA" sz="1600" b="1" dirty="0" smtClean="0"/>
                        <a:t>ndustry</a:t>
                      </a:r>
                      <a:r>
                        <a:rPr lang="en-CA" sz="1600" b="1" baseline="0" dirty="0" smtClean="0"/>
                        <a:t> specific </a:t>
                      </a:r>
                      <a:r>
                        <a:rPr lang="en-CA" sz="1100" b="0" baseline="0" dirty="0" smtClean="0"/>
                        <a:t>data related to Hospitality</a:t>
                      </a:r>
                      <a:endParaRPr lang="en-CA" sz="1050" b="0" baseline="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endParaRPr lang="en-CA" sz="500" b="0" baseline="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CA" sz="1600" b="1" baseline="0" dirty="0" smtClean="0"/>
                        <a:t>‘Less-explored’ </a:t>
                      </a:r>
                      <a:r>
                        <a:rPr lang="en-CA" sz="1050" b="0" baseline="0" dirty="0" smtClean="0"/>
                        <a:t>dataset in Tourism industry vis-a-vis PNR data for Aviation </a:t>
                      </a:r>
                      <a:endParaRPr lang="en-CA" sz="1050" b="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5A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24778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615231" y="1269733"/>
            <a:ext cx="2179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rgbClr val="C55A11"/>
                </a:solidFill>
              </a:rPr>
              <a:t>119390</a:t>
            </a:r>
            <a:endParaRPr lang="en-CA" sz="3600" b="1" dirty="0">
              <a:solidFill>
                <a:srgbClr val="C55A1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323408" y="1285406"/>
            <a:ext cx="811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chemeClr val="bg1"/>
                </a:solidFill>
              </a:rPr>
              <a:t>31</a:t>
            </a:r>
            <a:endParaRPr lang="en-CA" sz="36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418825" y="1260775"/>
            <a:ext cx="6298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600" b="1" dirty="0" smtClean="0">
                <a:solidFill>
                  <a:srgbClr val="C55A11"/>
                </a:solidFill>
              </a:rPr>
              <a:t>2</a:t>
            </a:r>
            <a:endParaRPr lang="en-CA" sz="3600" b="1" dirty="0">
              <a:solidFill>
                <a:srgbClr val="C55A1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3469" y="1865290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rgbClr val="C55A11"/>
                </a:solidFill>
              </a:rPr>
              <a:t>Number of data poi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877385" y="1907106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Number of </a:t>
            </a:r>
            <a:r>
              <a:rPr lang="en-CA" sz="1200" dirty="0" smtClean="0">
                <a:solidFill>
                  <a:schemeClr val="bg1"/>
                </a:solidFill>
              </a:rPr>
              <a:t>features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89174" y="1916064"/>
            <a:ext cx="1703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dirty="0" smtClean="0">
                <a:solidFill>
                  <a:srgbClr val="C55A11"/>
                </a:solidFill>
              </a:rPr>
              <a:t>Number of Years</a:t>
            </a:r>
            <a:endParaRPr lang="en-CA" sz="1200" dirty="0">
              <a:solidFill>
                <a:srgbClr val="C55A1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65257" y="1177757"/>
            <a:ext cx="524850" cy="112356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sz="1600" b="1" dirty="0" smtClean="0">
                <a:solidFill>
                  <a:schemeClr val="bg1"/>
                </a:solidFill>
              </a:rPr>
              <a:t>RAW DATA</a:t>
            </a:r>
            <a:endParaRPr lang="en-CA" sz="1600" b="1" dirty="0">
              <a:solidFill>
                <a:schemeClr val="bg1"/>
              </a:solidFill>
            </a:endParaRPr>
          </a:p>
        </p:txBody>
      </p:sp>
      <p:sp>
        <p:nvSpPr>
          <p:cNvPr id="38" name="Down Arrow 37"/>
          <p:cNvSpPr/>
          <p:nvPr/>
        </p:nvSpPr>
        <p:spPr>
          <a:xfrm>
            <a:off x="165257" y="2321836"/>
            <a:ext cx="8733359" cy="346727"/>
          </a:xfrm>
          <a:prstGeom prst="downArrow">
            <a:avLst>
              <a:gd name="adj1" fmla="val 39061"/>
              <a:gd name="adj2" fmla="val 100000"/>
            </a:avLst>
          </a:prstGeom>
          <a:solidFill>
            <a:schemeClr val="accent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8" name="Rectangle 47"/>
          <p:cNvSpPr/>
          <p:nvPr/>
        </p:nvSpPr>
        <p:spPr>
          <a:xfrm>
            <a:off x="165259" y="2710725"/>
            <a:ext cx="524850" cy="369176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CA" b="1" dirty="0" smtClean="0">
                <a:solidFill>
                  <a:schemeClr val="bg1"/>
                </a:solidFill>
              </a:rPr>
              <a:t>PROCESSED DATA</a:t>
            </a:r>
            <a:endParaRPr lang="en-CA" b="1" dirty="0">
              <a:solidFill>
                <a:schemeClr val="bg1"/>
              </a:solidFill>
            </a:endParaRP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690739"/>
              </p:ext>
            </p:extLst>
          </p:nvPr>
        </p:nvGraphicFramePr>
        <p:xfrm>
          <a:off x="690108" y="2710725"/>
          <a:ext cx="11265178" cy="3707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4873">
                  <a:extLst>
                    <a:ext uri="{9D8B030D-6E8A-4147-A177-3AD203B41FA5}">
                      <a16:colId xmlns:a16="http://schemas.microsoft.com/office/drawing/2014/main" val="1623610463"/>
                    </a:ext>
                  </a:extLst>
                </a:gridCol>
                <a:gridCol w="4785840">
                  <a:extLst>
                    <a:ext uri="{9D8B030D-6E8A-4147-A177-3AD203B41FA5}">
                      <a16:colId xmlns:a16="http://schemas.microsoft.com/office/drawing/2014/main" val="382114542"/>
                    </a:ext>
                  </a:extLst>
                </a:gridCol>
                <a:gridCol w="4784465">
                  <a:extLst>
                    <a:ext uri="{9D8B030D-6E8A-4147-A177-3AD203B41FA5}">
                      <a16:colId xmlns:a16="http://schemas.microsoft.com/office/drawing/2014/main" val="3250811815"/>
                    </a:ext>
                  </a:extLst>
                </a:gridCol>
              </a:tblGrid>
              <a:tr h="362413"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Data Clean-Up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Feature Engineering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>
                          <a:solidFill>
                            <a:srgbClr val="C55A11"/>
                          </a:solidFill>
                        </a:rPr>
                        <a:t>Outlier Removal</a:t>
                      </a:r>
                      <a:endParaRPr lang="en-CA" dirty="0">
                        <a:solidFill>
                          <a:srgbClr val="C55A11"/>
                        </a:solidFill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125100"/>
                  </a:ext>
                </a:extLst>
              </a:tr>
              <a:tr h="3327662">
                <a:tc>
                  <a:txBody>
                    <a:bodyPr/>
                    <a:lstStyle/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1.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Blank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 data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(a) Removed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blank ‘Country’ data (~0.4%)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b) Replaced blank ‘No. Of children’ data with median value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2. Insufficient data: Removed ‘Country’ data with less than 1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00 data points</a:t>
                      </a: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3. 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Deleted unrelated features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Weekend 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YES / NO) an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Day of the week </a:t>
                      </a:r>
                      <a:r>
                        <a:rPr lang="en-CA" sz="1200" b="0" i="0" baseline="0" dirty="0" smtClean="0">
                          <a:solidFill>
                            <a:srgbClr val="C55A11"/>
                          </a:solidFill>
                        </a:rPr>
                        <a:t>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Date</a:t>
                      </a:r>
                      <a:r>
                        <a:rPr lang="en-CA" sz="1200" b="1" i="0" baseline="0" dirty="0" smtClean="0">
                          <a:solidFill>
                            <a:srgbClr val="C55A11"/>
                          </a:solidFill>
                        </a:rPr>
                        <a:t> </a:t>
                      </a:r>
                      <a:endParaRPr lang="en-CA" sz="1200" b="1" i="1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buAutoNum type="arabicPeriod"/>
                      </a:pPr>
                      <a:endParaRPr lang="en-CA" sz="1200" baseline="0" dirty="0" smtClean="0">
                        <a:solidFill>
                          <a:srgbClr val="C55A11"/>
                        </a:solidFill>
                      </a:endParaRPr>
                    </a:p>
                    <a:p>
                      <a:pPr marL="228600" indent="-228600">
                        <a:lnSpc>
                          <a:spcPct val="130000"/>
                        </a:lnSpc>
                        <a:buAutoNum type="arabicPeriod"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Booked through Agent’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(YES/NO) 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Agent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Generated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‘Booked through Company’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(Y/N) from </a:t>
                      </a:r>
                      <a:r>
                        <a:rPr lang="en-CA" sz="1200" b="1" i="1" baseline="0" dirty="0" smtClean="0">
                          <a:solidFill>
                            <a:srgbClr val="C55A11"/>
                          </a:solidFill>
                        </a:rPr>
                        <a:t>Company ID’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One-Hot Encoding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for all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 categorical features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Removed all values greater than (Q3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+ </a:t>
                      </a:r>
                      <a:r>
                        <a:rPr lang="en-CA" sz="1200" dirty="0" smtClean="0">
                          <a:solidFill>
                            <a:srgbClr val="C55A11"/>
                          </a:solidFill>
                        </a:rPr>
                        <a:t>1.5</a:t>
                      </a: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 * IQR) or less than 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CA" sz="1200" baseline="0" dirty="0" smtClean="0">
                          <a:solidFill>
                            <a:srgbClr val="C55A11"/>
                          </a:solidFill>
                        </a:rPr>
                        <a:t>(Q1 – 1.5 * IQR) </a:t>
                      </a:r>
                    </a:p>
                  </a:txBody>
                  <a:tcPr marL="108000" marR="36000" marT="36000" marB="36000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991395"/>
                  </a:ext>
                </a:extLst>
              </a:tr>
            </a:tbl>
          </a:graphicData>
        </a:graphic>
      </p:graphicFrame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3"/>
          <a:srcRect l="3492" t="2425" r="57420" b="45148"/>
          <a:stretch/>
        </p:blipFill>
        <p:spPr>
          <a:xfrm>
            <a:off x="8087992" y="3746300"/>
            <a:ext cx="3107748" cy="9445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18088" t="37933" r="53252" b="20283"/>
          <a:stretch/>
        </p:blipFill>
        <p:spPr>
          <a:xfrm>
            <a:off x="2401592" y="3509823"/>
            <a:ext cx="2409125" cy="197571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4"/>
          <a:srcRect l="54505" t="37840" r="17386" b="20754"/>
          <a:stretch/>
        </p:blipFill>
        <p:spPr>
          <a:xfrm>
            <a:off x="4840651" y="3529058"/>
            <a:ext cx="2317336" cy="19200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62236" y="3351498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Reservations per ‘day of the week’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10717" y="3349807"/>
            <a:ext cx="2481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Cancellations per ‘day of the week’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l="18561" t="57899" r="17228" b="34218"/>
          <a:stretch/>
        </p:blipFill>
        <p:spPr>
          <a:xfrm>
            <a:off x="7206112" y="5171207"/>
            <a:ext cx="4720551" cy="8830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62558" y="6230831"/>
            <a:ext cx="469272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700" dirty="0">
                <a:solidFill>
                  <a:srgbClr val="C55A11"/>
                </a:solidFill>
              </a:rPr>
              <a:t>Q3 = Third quartile or 7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 </a:t>
            </a:r>
            <a:r>
              <a:rPr lang="en-CA" sz="700" dirty="0" smtClean="0">
                <a:solidFill>
                  <a:srgbClr val="C55A11"/>
                </a:solidFill>
              </a:rPr>
              <a:t>percentile; Q1 </a:t>
            </a:r>
            <a:r>
              <a:rPr lang="en-CA" sz="700" dirty="0">
                <a:solidFill>
                  <a:srgbClr val="C55A11"/>
                </a:solidFill>
              </a:rPr>
              <a:t>= First quartile or 25</a:t>
            </a:r>
            <a:r>
              <a:rPr lang="en-CA" sz="700" baseline="30000" dirty="0">
                <a:solidFill>
                  <a:srgbClr val="C55A11"/>
                </a:solidFill>
              </a:rPr>
              <a:t>th</a:t>
            </a:r>
            <a:r>
              <a:rPr lang="en-CA" sz="700" dirty="0">
                <a:solidFill>
                  <a:srgbClr val="C55A11"/>
                </a:solidFill>
              </a:rPr>
              <a:t> </a:t>
            </a:r>
            <a:r>
              <a:rPr lang="en-CA" sz="700" dirty="0" smtClean="0">
                <a:solidFill>
                  <a:srgbClr val="C55A11"/>
                </a:solidFill>
              </a:rPr>
              <a:t>percentile; IQR </a:t>
            </a:r>
            <a:r>
              <a:rPr lang="en-CA" sz="700" dirty="0">
                <a:solidFill>
                  <a:srgbClr val="C55A11"/>
                </a:solidFill>
              </a:rPr>
              <a:t>= Inter-Quartile Range (Q3-Q1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295887" y="3558004"/>
            <a:ext cx="28998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i="1" dirty="0" smtClean="0">
                <a:solidFill>
                  <a:schemeClr val="accent2">
                    <a:lumMod val="75000"/>
                  </a:schemeClr>
                </a:solidFill>
              </a:rPr>
              <a:t>BOX PLOT: ADR (Average Daily Rate)</a:t>
            </a:r>
            <a:endParaRPr lang="en-CA" sz="10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366942" y="4889125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b="1" dirty="0" smtClean="0">
                <a:solidFill>
                  <a:schemeClr val="accent2">
                    <a:lumMod val="75000"/>
                  </a:schemeClr>
                </a:solidFill>
              </a:rPr>
              <a:t>BEFORE       vs          AFTE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38319" y="5943958"/>
            <a:ext cx="23922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100" dirty="0" smtClean="0">
                <a:solidFill>
                  <a:schemeClr val="accent2">
                    <a:lumMod val="75000"/>
                  </a:schemeClr>
                </a:solidFill>
              </a:rPr>
              <a:t>Probability density graphs</a:t>
            </a: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2765361649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67474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5806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chemeClr val="accent2">
                    <a:lumMod val="75000"/>
                  </a:schemeClr>
                </a:solidFill>
              </a:rPr>
              <a:t>Feature </a:t>
            </a:r>
            <a:r>
              <a:rPr lang="en-US" sz="3200" dirty="0">
                <a:solidFill>
                  <a:schemeClr val="accent2">
                    <a:lumMod val="75000"/>
                  </a:schemeClr>
                </a:solidFill>
              </a:rPr>
              <a:t>Scaling and Reduc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Google Shape;161;p3"/>
          <p:cNvSpPr/>
          <p:nvPr/>
        </p:nvSpPr>
        <p:spPr>
          <a:xfrm>
            <a:off x="452704" y="1192774"/>
            <a:ext cx="11257396" cy="2064942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1" name="Google Shape;163;p3"/>
          <p:cNvSpPr txBox="1"/>
          <p:nvPr/>
        </p:nvSpPr>
        <p:spPr>
          <a:xfrm>
            <a:off x="946111" y="1021507"/>
            <a:ext cx="264522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Scaling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71101" y="1382730"/>
            <a:ext cx="6376856" cy="1212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Normalization </a:t>
            </a:r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vs 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Our dataset has many non-negative features, like price, no. of children etc. 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Normalization represents non-negative features better</a:t>
            </a: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Standardization has a much wider spread vis-à-vis normalization</a:t>
            </a:r>
            <a:endParaRPr lang="en-US" sz="1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Google Shape;161;p3"/>
          <p:cNvSpPr/>
          <p:nvPr/>
        </p:nvSpPr>
        <p:spPr>
          <a:xfrm>
            <a:off x="452704" y="3450976"/>
            <a:ext cx="11257396" cy="2988000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2" name="Google Shape;163;p3"/>
          <p:cNvSpPr txBox="1"/>
          <p:nvPr/>
        </p:nvSpPr>
        <p:spPr>
          <a:xfrm>
            <a:off x="946111" y="3279709"/>
            <a:ext cx="376079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  <a:ea typeface="Arial"/>
                <a:cs typeface="Arial"/>
                <a:sym typeface="Arial"/>
              </a:rPr>
              <a:t>Feature Reduction / Selection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2386" y="6061423"/>
            <a:ext cx="11038032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K-best method gives best results for regression and PCA gives best results for classificat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17818" t="15394" r="19872" b="17904"/>
          <a:stretch/>
        </p:blipFill>
        <p:spPr>
          <a:xfrm>
            <a:off x="4461968" y="3962868"/>
            <a:ext cx="3262000" cy="1964216"/>
          </a:xfrm>
          <a:prstGeom prst="rect">
            <a:avLst/>
          </a:prstGeom>
        </p:spPr>
      </p:pic>
      <p:cxnSp>
        <p:nvCxnSpPr>
          <p:cNvPr id="21" name="Straight Connector 20"/>
          <p:cNvCxnSpPr/>
          <p:nvPr/>
        </p:nvCxnSpPr>
        <p:spPr>
          <a:xfrm>
            <a:off x="6191186" y="4111265"/>
            <a:ext cx="9236" cy="1656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/>
          <a:srcRect l="18151" t="29600" r="17165" b="18640"/>
          <a:stretch/>
        </p:blipFill>
        <p:spPr>
          <a:xfrm>
            <a:off x="466764" y="1375716"/>
            <a:ext cx="4155117" cy="187029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204146" y="1440826"/>
            <a:ext cx="359985" cy="24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Rectangle 19"/>
          <p:cNvSpPr/>
          <p:nvPr/>
        </p:nvSpPr>
        <p:spPr>
          <a:xfrm>
            <a:off x="4107893" y="2392125"/>
            <a:ext cx="454634" cy="259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extBox 3"/>
          <p:cNvSpPr txBox="1"/>
          <p:nvPr/>
        </p:nvSpPr>
        <p:spPr>
          <a:xfrm>
            <a:off x="3649569" y="1421576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  <a:endParaRPr lang="en-CA" sz="9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3443572" y="1516906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443572" y="1665175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649569" y="2355064"/>
            <a:ext cx="1057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Normalization</a:t>
            </a:r>
          </a:p>
          <a:p>
            <a:r>
              <a:rPr lang="en-CA" sz="900" dirty="0" smtClean="0">
                <a:solidFill>
                  <a:schemeClr val="accent2">
                    <a:lumMod val="75000"/>
                  </a:schemeClr>
                </a:solidFill>
              </a:rPr>
              <a:t>Standardization</a:t>
            </a:r>
            <a:endParaRPr lang="en-CA" sz="90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3443572" y="2450394"/>
            <a:ext cx="2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443572" y="2598663"/>
            <a:ext cx="25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4925990" y="2794729"/>
            <a:ext cx="6480000" cy="326331"/>
          </a:xfrm>
          <a:prstGeom prst="rect">
            <a:avLst/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hoose Normalization for feature scaling of our datase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94483" y="4051530"/>
            <a:ext cx="3456298" cy="75297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Recursive 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Feature Elimination with Cross-Validation (RFECV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) Output</a:t>
            </a: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626580" y="4529241"/>
            <a:ext cx="3344970" cy="21544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mal number of features : 80 </a:t>
            </a:r>
            <a:endParaRPr kumimoji="0" lang="en-US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585056" y="3738720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RFECV</a:t>
            </a:r>
            <a:endParaRPr lang="en-CA" dirty="0"/>
          </a:p>
        </p:txBody>
      </p:sp>
      <p:sp>
        <p:nvSpPr>
          <p:cNvPr id="35" name="Pentagon 34"/>
          <p:cNvSpPr/>
          <p:nvPr/>
        </p:nvSpPr>
        <p:spPr>
          <a:xfrm>
            <a:off x="4001407" y="3689919"/>
            <a:ext cx="756000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PCA</a:t>
            </a:r>
            <a:endParaRPr lang="en-CA" dirty="0"/>
          </a:p>
        </p:txBody>
      </p:sp>
      <p:sp>
        <p:nvSpPr>
          <p:cNvPr id="36" name="Rectangle 35"/>
          <p:cNvSpPr/>
          <p:nvPr/>
        </p:nvSpPr>
        <p:spPr>
          <a:xfrm>
            <a:off x="616711" y="5175662"/>
            <a:ext cx="3456298" cy="79616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Regression – Predicting Average Daily Rate: Top 60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Classification – Predicting cancellation: 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         Top 70 features</a:t>
            </a:r>
          </a:p>
        </p:txBody>
      </p:sp>
      <p:sp>
        <p:nvSpPr>
          <p:cNvPr id="37" name="Pentagon 36"/>
          <p:cNvSpPr/>
          <p:nvPr/>
        </p:nvSpPr>
        <p:spPr>
          <a:xfrm>
            <a:off x="607284" y="4862852"/>
            <a:ext cx="1109024" cy="324952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K-BEST</a:t>
            </a:r>
            <a:endParaRPr lang="en-CA" dirty="0"/>
          </a:p>
        </p:txBody>
      </p:sp>
      <p:sp>
        <p:nvSpPr>
          <p:cNvPr id="7" name="TextBox 6"/>
          <p:cNvSpPr txBox="1"/>
          <p:nvPr/>
        </p:nvSpPr>
        <p:spPr>
          <a:xfrm>
            <a:off x="6141491" y="5304268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 smtClean="0">
                <a:solidFill>
                  <a:schemeClr val="accent2">
                    <a:lumMod val="75000"/>
                  </a:schemeClr>
                </a:solidFill>
              </a:rPr>
              <a:t>*Optimal Number of features: 60</a:t>
            </a:r>
            <a:endParaRPr lang="en-CA" sz="1100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3394102941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0"/>
          <a:srcRect t="3611" r="4632"/>
          <a:stretch/>
        </p:blipFill>
        <p:spPr>
          <a:xfrm>
            <a:off x="8356320" y="4003826"/>
            <a:ext cx="3066400" cy="1991203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4257962" y="3741141"/>
            <a:ext cx="7334374" cy="223068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endParaRPr lang="en-US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30355" y="3749155"/>
            <a:ext cx="2842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Regression: Predict Avg. Daily Rat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536174" y="3770391"/>
            <a:ext cx="2886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Classification: Predict Cancellation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10273413" y="4101755"/>
            <a:ext cx="9236" cy="158400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0216368" y="5217520"/>
            <a:ext cx="1352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i="1" dirty="0" smtClean="0">
                <a:solidFill>
                  <a:schemeClr val="accent2">
                    <a:lumMod val="75000"/>
                  </a:schemeClr>
                </a:solidFill>
              </a:rPr>
              <a:t>*Optimal Number of features: 70</a:t>
            </a:r>
            <a:endParaRPr lang="en-CA" sz="1100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27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Regression : Predicting Average Daily Date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2"/>
            <a:ext cx="9164988" cy="31884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36931" y="5390504"/>
            <a:ext cx="9162000" cy="87748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2836931" y="5047025"/>
            <a:ext cx="9162000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Select &amp; Trai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18380" y="1107197"/>
            <a:ext cx="5510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Tune and Compare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0057" y="5063319"/>
            <a:ext cx="8948408" cy="345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Results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7060" y="1503357"/>
            <a:ext cx="218246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Identified eight 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inear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tochastic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Gradient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escent (SGD)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Elastic Ne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K-Neighbors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Ada Boost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andom Forest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Lasso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upport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ector Regression (SVR)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7" name="Right Arrow 26"/>
          <p:cNvSpPr/>
          <p:nvPr/>
        </p:nvSpPr>
        <p:spPr>
          <a:xfrm rot="5400000">
            <a:off x="7185198" y="3633502"/>
            <a:ext cx="422082" cy="2412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798883683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000452" y="1522904"/>
            <a:ext cx="9159297" cy="3022088"/>
            <a:chOff x="2715972" y="1488459"/>
            <a:chExt cx="9159297" cy="302208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13"/>
            <a:srcRect b="24289"/>
            <a:stretch/>
          </p:blipFill>
          <p:spPr>
            <a:xfrm>
              <a:off x="2715972" y="1488459"/>
              <a:ext cx="8791575" cy="2870181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3760776" y="4271853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299890" y="4260302"/>
              <a:ext cx="3417549" cy="95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90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98800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inear Regression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375975" y="4277360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GD Regression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000676" y="4272238"/>
              <a:ext cx="13716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lastic Net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215458" y="4279169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K-Neighbors </a:t>
              </a:r>
              <a:r>
                <a:rPr lang="en-CA" sz="900" dirty="0" err="1">
                  <a:solidFill>
                    <a:srgbClr val="000000"/>
                  </a:solidFill>
                  <a:highlight>
                    <a:srgbClr val="FFFF00"/>
                  </a:highlight>
                  <a:latin typeface="Tahoma" panose="020B0604030504040204" pitchFamily="34" charset="0"/>
                  <a:ea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8768571" y="4279715"/>
              <a:ext cx="160202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daBoost</a:t>
              </a:r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008665" y="4279169"/>
              <a:ext cx="186660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9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dom Forest </a:t>
              </a:r>
              <a:r>
                <a:rPr lang="en-CA" sz="900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gressor</a:t>
              </a:r>
              <a:endParaRPr lang="en-CA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130029" y="5386550"/>
            <a:ext cx="7375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K-Neighbors Regression gives best resul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MAE (Mean absolute error):          13.167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MSE (Root mean square error):  21.488</a:t>
            </a:r>
          </a:p>
        </p:txBody>
      </p:sp>
    </p:spTree>
    <p:extLst>
      <p:ext uri="{BB962C8B-B14F-4D97-AF65-F5344CB8AC3E}">
        <p14:creationId xmlns:p14="http://schemas.microsoft.com/office/powerpoint/2010/main" val="424226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Modelling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3"/>
          <a:srcRect l="1327" t="3532" r="14015" b="4656"/>
          <a:stretch/>
        </p:blipFill>
        <p:spPr>
          <a:xfrm>
            <a:off x="2960057" y="1559093"/>
            <a:ext cx="6287009" cy="256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02000" y="4165493"/>
            <a:ext cx="5861736" cy="1938951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061" y="1425905"/>
            <a:ext cx="2166911" cy="48420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36931" y="1434381"/>
            <a:ext cx="6469208" cy="483360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31521" y="1451199"/>
            <a:ext cx="2211096" cy="481678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47061" y="1082426"/>
            <a:ext cx="2166911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2836931" y="1090903"/>
            <a:ext cx="6467099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9731521" y="1107720"/>
            <a:ext cx="2211096" cy="3434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46648" tIns="46648" rIns="46648" bIns="46648" anchor="t"/>
          <a:lstStyle/>
          <a:p>
            <a:pPr algn="ctr" defTabSz="920052">
              <a:defRPr/>
            </a:pPr>
            <a:endParaRPr lang="en-US" sz="1000" b="1" dirty="0">
              <a:solidFill>
                <a:srgbClr val="49166D"/>
              </a:solidFill>
            </a:endParaRPr>
          </a:p>
          <a:p>
            <a:pPr algn="ctr" defTabSz="920052">
              <a:defRPr/>
            </a:pPr>
            <a:endParaRPr lang="en-CA" sz="1000" b="1" dirty="0">
              <a:solidFill>
                <a:srgbClr val="49166D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1158" y="1126077"/>
            <a:ext cx="2275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Select &amp; Trai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18381" y="1107197"/>
            <a:ext cx="2251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Tune and Compare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854647" y="1124014"/>
            <a:ext cx="1951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Conclusion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2140" y="1508282"/>
            <a:ext cx="19576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Identified six models to train :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K-Neighbors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Logistic Regres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andom Forest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Classifier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Support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ector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lassifier (SVC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Decision Tree Classifie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Voting Classifier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2413011" y="1450677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7" name="TextBox 36"/>
          <p:cNvSpPr txBox="1"/>
          <p:nvPr/>
        </p:nvSpPr>
        <p:spPr>
          <a:xfrm>
            <a:off x="9764346" y="1462568"/>
            <a:ext cx="21782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Random Forest Classifier (RFC)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nd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Voting classifier  (VC)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give the best results on each of the following parameter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ccurac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F1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ROC AUC sco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CA" sz="1200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Decision Tree Classifier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rovides best results for Recall; about 2-3% better than RFC and VC</a:t>
            </a:r>
          </a:p>
        </p:txBody>
      </p:sp>
      <p:sp>
        <p:nvSpPr>
          <p:cNvPr id="38" name="Right Arrow 37"/>
          <p:cNvSpPr/>
          <p:nvPr/>
        </p:nvSpPr>
        <p:spPr>
          <a:xfrm>
            <a:off x="9312880" y="1464565"/>
            <a:ext cx="422082" cy="600364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C55A1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1819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Results</a:t>
            </a:r>
            <a:b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CA" sz="2000" kern="0" dirty="0" smtClean="0">
                <a:solidFill>
                  <a:schemeClr val="accent2">
                    <a:lumMod val="75000"/>
                  </a:schemeClr>
                </a:solidFill>
              </a:rPr>
              <a:t>Classification: Predicting Cancellation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661665220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88160" y="3716690"/>
            <a:ext cx="3625215" cy="24647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33362" y="1509364"/>
            <a:ext cx="4597200" cy="142994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61502" y="1415813"/>
            <a:ext cx="6805062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 smtClean="0">
                <a:solidFill>
                  <a:schemeClr val="accent2">
                    <a:lumMod val="75000"/>
                  </a:schemeClr>
                </a:solidFill>
              </a:rPr>
              <a:t>Choose Voting classifier (VC)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Alongwith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Random Forest Classifier (RFC), it gives the best results for Accuracy and Precis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The recall score is only ~3% less than the best resul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Choose </a:t>
            </a:r>
            <a:r>
              <a:rPr lang="en-CA" sz="1200" dirty="0">
                <a:solidFill>
                  <a:schemeClr val="accent2">
                    <a:lumMod val="75000"/>
                  </a:schemeClr>
                </a:solidFill>
              </a:rPr>
              <a:t>VC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ver RFC, since it compares other models (including RFC) and generally provides best resul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017062" y="1190132"/>
            <a:ext cx="34078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CA" sz="1400" b="1" dirty="0" smtClean="0">
                <a:solidFill>
                  <a:schemeClr val="accent2">
                    <a:lumMod val="75000"/>
                  </a:schemeClr>
                </a:solidFill>
              </a:rPr>
              <a:t>Voting classifier (VC) Results</a:t>
            </a:r>
            <a:endParaRPr lang="en-CA" sz="12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Google Shape;161;p3"/>
          <p:cNvSpPr/>
          <p:nvPr/>
        </p:nvSpPr>
        <p:spPr>
          <a:xfrm>
            <a:off x="285288" y="1260149"/>
            <a:ext cx="11612072" cy="1679158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78695" y="1088882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hoose Model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Google Shape;161;p3"/>
          <p:cNvSpPr/>
          <p:nvPr/>
        </p:nvSpPr>
        <p:spPr>
          <a:xfrm>
            <a:off x="285288" y="3420964"/>
            <a:ext cx="7151832" cy="2827435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" name="Google Shape;163;p3"/>
          <p:cNvSpPr txBox="1"/>
          <p:nvPr/>
        </p:nvSpPr>
        <p:spPr>
          <a:xfrm>
            <a:off x="778695" y="3249698"/>
            <a:ext cx="2411545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nfusion</a:t>
            </a:r>
            <a:r>
              <a:rPr kumimoji="0" lang="en-CA" sz="2000" b="0" i="0" u="none" strike="noStrike" kern="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 Matrix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63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279492"/>
            <a:ext cx="10515600" cy="615806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Neural Network (</a:t>
            </a:r>
            <a:r>
              <a:rPr lang="en-CA" sz="3600" kern="0" dirty="0" err="1" smtClean="0">
                <a:solidFill>
                  <a:schemeClr val="accent2">
                    <a:lumMod val="75000"/>
                  </a:schemeClr>
                </a:solidFill>
              </a:rPr>
              <a:t>TensorFlow</a:t>
            </a:r>
            <a:r>
              <a:rPr lang="en-CA" sz="3600" kern="0" dirty="0" smtClean="0">
                <a:solidFill>
                  <a:schemeClr val="accent2">
                    <a:lumMod val="75000"/>
                  </a:schemeClr>
                </a:solidFill>
              </a:rPr>
              <a:t>)</a:t>
            </a:r>
            <a:endParaRPr lang="en-CA" sz="200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707575" y="980931"/>
            <a:ext cx="10080000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628" y="1416984"/>
            <a:ext cx="4229115" cy="3016268"/>
          </a:xfrm>
          <a:prstGeom prst="rect">
            <a:avLst/>
          </a:prstGeom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674394854"/>
              </p:ext>
            </p:extLst>
          </p:nvPr>
        </p:nvGraphicFramePr>
        <p:xfrm>
          <a:off x="-1405" y="6489231"/>
          <a:ext cx="12192000" cy="372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6515" y="4061760"/>
            <a:ext cx="6315075" cy="20764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10234" y="1454457"/>
            <a:ext cx="6501356" cy="2521463"/>
          </a:xfrm>
          <a:prstGeom prst="rect">
            <a:avLst/>
          </a:prstGeom>
        </p:spPr>
      </p:pic>
      <p:sp>
        <p:nvSpPr>
          <p:cNvPr id="18" name="Google Shape;161;p3"/>
          <p:cNvSpPr/>
          <p:nvPr/>
        </p:nvSpPr>
        <p:spPr>
          <a:xfrm>
            <a:off x="214168" y="1260149"/>
            <a:ext cx="11257396" cy="5051034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2400" kern="0">
              <a:solidFill>
                <a:srgbClr val="4B286D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9" name="Google Shape;163;p3"/>
          <p:cNvSpPr txBox="1"/>
          <p:nvPr/>
        </p:nvSpPr>
        <p:spPr>
          <a:xfrm>
            <a:off x="707576" y="1088882"/>
            <a:ext cx="2922316" cy="400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CA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Summary</a:t>
            </a:r>
            <a:endParaRPr kumimoji="0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18315" y="4495054"/>
            <a:ext cx="49740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Neural Networks applied to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predict cancellations 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using two layers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Plotted model graph with different activation functions (ELU, RELU, SELU, Sigmoid, </a:t>
            </a:r>
            <a:r>
              <a:rPr lang="en-CA" sz="1200" dirty="0" err="1" smtClean="0">
                <a:solidFill>
                  <a:schemeClr val="accent2">
                    <a:lumMod val="75000"/>
                  </a:schemeClr>
                </a:solidFill>
              </a:rPr>
              <a:t>TanH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All activation scores performed well as recall is over 0.5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Overall,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‘RELU’</a:t>
            </a:r>
            <a:r>
              <a:rPr lang="en-CA" sz="1200" dirty="0" smtClean="0">
                <a:solidFill>
                  <a:schemeClr val="accent2">
                    <a:lumMod val="75000"/>
                  </a:schemeClr>
                </a:solidFill>
              </a:rPr>
              <a:t> activation function provided best results followed by </a:t>
            </a:r>
            <a:r>
              <a:rPr lang="en-CA" sz="1200" b="1" dirty="0" smtClean="0">
                <a:solidFill>
                  <a:schemeClr val="accent2">
                    <a:lumMod val="75000"/>
                  </a:schemeClr>
                </a:solidFill>
              </a:rPr>
              <a:t>‘Sigmoid’</a:t>
            </a:r>
          </a:p>
        </p:txBody>
      </p:sp>
    </p:spTree>
    <p:extLst>
      <p:ext uri="{BB962C8B-B14F-4D97-AF65-F5344CB8AC3E}">
        <p14:creationId xmlns:p14="http://schemas.microsoft.com/office/powerpoint/2010/main" val="1837751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KVok6T0EC1P.ILAZq9Rg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4B183"/>
      </a:hlink>
      <a:folHlink>
        <a:srgbClr val="F4B18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7</TotalTime>
  <Words>1330</Words>
  <Application>Microsoft Office PowerPoint</Application>
  <PresentationFormat>Widescreen</PresentationFormat>
  <Paragraphs>280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Calibri</vt:lpstr>
      <vt:lpstr>Courier New</vt:lpstr>
      <vt:lpstr>Lato</vt:lpstr>
      <vt:lpstr>Tahoma</vt:lpstr>
      <vt:lpstr>Wingdings</vt:lpstr>
      <vt:lpstr>Office Theme</vt:lpstr>
      <vt:lpstr>PowerPoint Presentation</vt:lpstr>
      <vt:lpstr>Project Journey</vt:lpstr>
      <vt:lpstr>Identify Problem and its Application</vt:lpstr>
      <vt:lpstr>Data Exploration and Feature Engineering</vt:lpstr>
      <vt:lpstr>Feature Scaling and Reduction</vt:lpstr>
      <vt:lpstr>Modelling Regression : Predicting Average Daily Date</vt:lpstr>
      <vt:lpstr>Modelling Classification: Predicting Cancellation</vt:lpstr>
      <vt:lpstr>Results Classification: Predicting Cancellation</vt:lpstr>
      <vt:lpstr>Neural Network (TensorFlow)</vt:lpstr>
      <vt:lpstr>Conclusion</vt:lpstr>
      <vt:lpstr>PowerPoint Presentation</vt:lpstr>
    </vt:vector>
  </TitlesOfParts>
  <Company>TEL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karan Singh</dc:creator>
  <cp:lastModifiedBy>Harkaran Singh</cp:lastModifiedBy>
  <cp:revision>141</cp:revision>
  <dcterms:created xsi:type="dcterms:W3CDTF">2020-03-28T16:11:28Z</dcterms:created>
  <dcterms:modified xsi:type="dcterms:W3CDTF">2020-04-07T18:59:20Z</dcterms:modified>
</cp:coreProperties>
</file>